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1"/>
  </p:notesMasterIdLst>
  <p:sldIdLst>
    <p:sldId id="256" r:id="rId5"/>
    <p:sldId id="257" r:id="rId6"/>
    <p:sldId id="264" r:id="rId7"/>
    <p:sldId id="266" r:id="rId8"/>
    <p:sldId id="265" r:id="rId9"/>
    <p:sldId id="498" r:id="rId10"/>
    <p:sldId id="294" r:id="rId11"/>
    <p:sldId id="490" r:id="rId12"/>
    <p:sldId id="290" r:id="rId13"/>
    <p:sldId id="276" r:id="rId14"/>
    <p:sldId id="270" r:id="rId15"/>
    <p:sldId id="291" r:id="rId16"/>
    <p:sldId id="409" r:id="rId17"/>
    <p:sldId id="300" r:id="rId18"/>
    <p:sldId id="280" r:id="rId19"/>
    <p:sldId id="322" r:id="rId20"/>
    <p:sldId id="324" r:id="rId21"/>
    <p:sldId id="296" r:id="rId22"/>
    <p:sldId id="297" r:id="rId23"/>
    <p:sldId id="497" r:id="rId24"/>
    <p:sldId id="501" r:id="rId25"/>
    <p:sldId id="502" r:id="rId26"/>
    <p:sldId id="298" r:id="rId27"/>
    <p:sldId id="308" r:id="rId28"/>
    <p:sldId id="503" r:id="rId29"/>
    <p:sldId id="259" r:id="rId30"/>
  </p:sldIdLst>
  <p:sldSz cx="24384000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1" userDrawn="1">
          <p15:clr>
            <a:srgbClr val="A4A3A4"/>
          </p15:clr>
        </p15:guide>
        <p15:guide id="3" pos="7679" userDrawn="1">
          <p15:clr>
            <a:srgbClr val="A4A3A4"/>
          </p15:clr>
        </p15:guide>
        <p15:guide id="4" pos="110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lipe Ohanesian Silva" initials="FOS" lastIdx="1" clrIdx="0">
    <p:extLst>
      <p:ext uri="{19B8F6BF-5375-455C-9EA6-DF929625EA0E}">
        <p15:presenceInfo xmlns:p15="http://schemas.microsoft.com/office/powerpoint/2012/main" userId="S::felipe.o.silva@kroton.com.br::703f18c8-3055-40b4-ae83-f9e31b874ad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48120"/>
    <a:srgbClr val="F49E00"/>
    <a:srgbClr val="0054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876" autoAdjust="0"/>
    <p:restoredTop sz="94660"/>
  </p:normalViewPr>
  <p:slideViewPr>
    <p:cSldViewPr snapToGrid="0" showGuides="1">
      <p:cViewPr varScale="1">
        <p:scale>
          <a:sx n="34" d="100"/>
          <a:sy n="34" d="100"/>
        </p:scale>
        <p:origin x="690" y="72"/>
      </p:cViewPr>
      <p:guideLst>
        <p:guide orient="horz" pos="4320"/>
        <p:guide pos="7681"/>
        <p:guide pos="7679"/>
        <p:guide pos="110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0A71BA-B0F1-46DC-9896-EEA212639BC1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668E25-D429-4C4A-A021-5103A3E0D6C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01655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l9QPabiKKhw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unsplash.com/photos/l9QPabiKKhw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C6F0A8-92C8-499A-9053-86BCF77A035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712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951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67161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68195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5D8FDC2-87DF-4A17-BA96-34F126607131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529979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4496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377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93572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94869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96450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505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63429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5249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161AF0-D1F7-45A7-B99B-9864D93BC41F}" type="datetimeFigureOut">
              <a:rPr lang="pt-BR" smtClean="0"/>
              <a:t>27/12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CD3163-1181-4798-9908-9CAB878C50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87449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11" Type="http://schemas.openxmlformats.org/officeDocument/2006/relationships/image" Target="../media/image7.sv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png"/><Relationship Id="rId4" Type="http://schemas.openxmlformats.org/officeDocument/2006/relationships/image" Target="../media/image1.jpeg"/><Relationship Id="rId9" Type="http://schemas.openxmlformats.org/officeDocument/2006/relationships/image" Target="../media/image5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1.pn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2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hyperlink" Target="http://www.gndi.com.br/" TargetMode="External"/><Relationship Id="rId7" Type="http://schemas.openxmlformats.org/officeDocument/2006/relationships/image" Target="../media/image3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4.png"/><Relationship Id="rId7" Type="http://schemas.openxmlformats.org/officeDocument/2006/relationships/image" Target="../media/image3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3.png"/><Relationship Id="rId4" Type="http://schemas.openxmlformats.org/officeDocument/2006/relationships/image" Target="../media/image8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C44819DD-502E-43D2-A379-041C83922C4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4"/>
          <a:stretch/>
        </p:blipFill>
        <p:spPr>
          <a:xfrm>
            <a:off x="796" y="447"/>
            <a:ext cx="24382413" cy="13696328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7DE81D81-ED09-4D96-AB43-0C1E563CEFC7}"/>
              </a:ext>
            </a:extLst>
          </p:cNvPr>
          <p:cNvSpPr/>
          <p:nvPr/>
        </p:nvSpPr>
        <p:spPr>
          <a:xfrm>
            <a:off x="305595" y="-56703"/>
            <a:ext cx="24077608" cy="13696328"/>
          </a:xfrm>
          <a:prstGeom prst="rect">
            <a:avLst/>
          </a:prstGeom>
          <a:gradFill flip="none" rotWithShape="1">
            <a:gsLst>
              <a:gs pos="0">
                <a:srgbClr val="623327">
                  <a:alpha val="80000"/>
                </a:srgbClr>
              </a:gs>
              <a:gs pos="50000">
                <a:srgbClr val="6D3427">
                  <a:alpha val="20000"/>
                </a:srgbClr>
              </a:gs>
              <a:gs pos="100000">
                <a:schemeClr val="accent6">
                  <a:alpha val="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600"/>
          </a:p>
        </p:txBody>
      </p:sp>
      <p:sp>
        <p:nvSpPr>
          <p:cNvPr id="17" name="Forma Livre: Forma 16">
            <a:extLst>
              <a:ext uri="{FF2B5EF4-FFF2-40B4-BE49-F238E27FC236}">
                <a16:creationId xmlns:a16="http://schemas.microsoft.com/office/drawing/2014/main" id="{7BED31A6-98CE-AC98-7EB7-B48BFBEE4068}"/>
              </a:ext>
            </a:extLst>
          </p:cNvPr>
          <p:cNvSpPr/>
          <p:nvPr/>
        </p:nvSpPr>
        <p:spPr>
          <a:xfrm>
            <a:off x="970612" y="0"/>
            <a:ext cx="8894618" cy="2687782"/>
          </a:xfrm>
          <a:custGeom>
            <a:avLst/>
            <a:gdLst>
              <a:gd name="connsiteX0" fmla="*/ 0 w 8894618"/>
              <a:gd name="connsiteY0" fmla="*/ 0 h 2687782"/>
              <a:gd name="connsiteX1" fmla="*/ 8894618 w 8894618"/>
              <a:gd name="connsiteY1" fmla="*/ 0 h 2687782"/>
              <a:gd name="connsiteX2" fmla="*/ 8894618 w 8894618"/>
              <a:gd name="connsiteY2" fmla="*/ 2433754 h 2687782"/>
              <a:gd name="connsiteX3" fmla="*/ 8640590 w 8894618"/>
              <a:gd name="connsiteY3" fmla="*/ 2687782 h 2687782"/>
              <a:gd name="connsiteX4" fmla="*/ 254028 w 8894618"/>
              <a:gd name="connsiteY4" fmla="*/ 2687782 h 2687782"/>
              <a:gd name="connsiteX5" fmla="*/ 0 w 8894618"/>
              <a:gd name="connsiteY5" fmla="*/ 2433754 h 2687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94618" h="2687782">
                <a:moveTo>
                  <a:pt x="0" y="0"/>
                </a:moveTo>
                <a:lnTo>
                  <a:pt x="8894618" y="0"/>
                </a:lnTo>
                <a:lnTo>
                  <a:pt x="8894618" y="2433754"/>
                </a:lnTo>
                <a:cubicBezTo>
                  <a:pt x="8894618" y="2574050"/>
                  <a:pt x="8780886" y="2687782"/>
                  <a:pt x="8640590" y="2687782"/>
                </a:cubicBezTo>
                <a:lnTo>
                  <a:pt x="254028" y="2687782"/>
                </a:lnTo>
                <a:cubicBezTo>
                  <a:pt x="113732" y="2687782"/>
                  <a:pt x="0" y="2574050"/>
                  <a:pt x="0" y="243375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970" y="3623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970" y="3623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itle 1">
            <a:extLst>
              <a:ext uri="{FF2B5EF4-FFF2-40B4-BE49-F238E27FC236}">
                <a16:creationId xmlns:a16="http://schemas.microsoft.com/office/drawing/2014/main" id="{6EAF0036-FDD0-41E1-A820-48C59CC11D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750764" y="7519042"/>
            <a:ext cx="10870492" cy="3288392"/>
          </a:xfrm>
        </p:spPr>
        <p:txBody>
          <a:bodyPr>
            <a:normAutofit/>
          </a:bodyPr>
          <a:lstStyle/>
          <a:p>
            <a:pPr algn="l"/>
            <a:r>
              <a:rPr lang="en-US" sz="7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ESENTAÇÃO</a:t>
            </a:r>
            <a:br>
              <a:rPr lang="en-US" sz="7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7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5">
            <a:extLst>
              <a:ext uri="{FF2B5EF4-FFF2-40B4-BE49-F238E27FC236}">
                <a16:creationId xmlns:a16="http://schemas.microsoft.com/office/drawing/2014/main" id="{9E6F20CD-A475-42BB-95F5-0D73789C98DB}"/>
              </a:ext>
            </a:extLst>
          </p:cNvPr>
          <p:cNvSpPr/>
          <p:nvPr/>
        </p:nvSpPr>
        <p:spPr>
          <a:xfrm>
            <a:off x="12192001" y="8048661"/>
            <a:ext cx="176453" cy="3288392"/>
          </a:xfrm>
          <a:prstGeom prst="rect">
            <a:avLst/>
          </a:prstGeom>
          <a:solidFill>
            <a:srgbClr val="F5A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pic>
        <p:nvPicPr>
          <p:cNvPr id="40" name="Imagem 39" descr="Uma imagem contendo desenho&#10;&#10;Descrição gerada automaticamente">
            <a:extLst>
              <a:ext uri="{FF2B5EF4-FFF2-40B4-BE49-F238E27FC236}">
                <a16:creationId xmlns:a16="http://schemas.microsoft.com/office/drawing/2014/main" id="{92A40BE1-53AF-4607-BA5C-47B530F76BF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2710" y="12574090"/>
            <a:ext cx="1932436" cy="337370"/>
          </a:xfrm>
          <a:prstGeom prst="rect">
            <a:avLst/>
          </a:prstGeom>
        </p:spPr>
      </p:pic>
      <p:pic>
        <p:nvPicPr>
          <p:cNvPr id="3" name="Gráfico 2">
            <a:extLst>
              <a:ext uri="{FF2B5EF4-FFF2-40B4-BE49-F238E27FC236}">
                <a16:creationId xmlns:a16="http://schemas.microsoft.com/office/drawing/2014/main" id="{FE520012-C3DB-4063-02A1-A8CF790CB0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10630" y="973834"/>
            <a:ext cx="3765606" cy="863671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2147B8FC-D17D-B6D8-0B2F-C2AA8FBC84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99380" y="859928"/>
            <a:ext cx="3765606" cy="109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794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E3792247-A948-7CE7-8DB3-BC40461BC579}"/>
              </a:ext>
            </a:extLst>
          </p:cNvPr>
          <p:cNvSpPr txBox="1"/>
          <p:nvPr/>
        </p:nvSpPr>
        <p:spPr>
          <a:xfrm>
            <a:off x="347473" y="4193789"/>
            <a:ext cx="18502010" cy="84346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nações hospitalares: clínicas, cirúrgicas, pediátricas e obstétricas;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árias hospitalares sem limite, inclusive UTI;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imioterapia e Radioterapia;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enças Crônicas e Congênitas;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idente de Trabalho;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rurgias Cardíacas;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nsplantes renal, de córnea e medula;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urgia de Miopia: casos com 5 graus ou mais; 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sectomia / Laqueadura / Implante de DIU (de acordo com o protocolo de planejamento familiar);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sões de terapia ocupacional individual </a:t>
            </a:r>
          </a:p>
          <a:p>
            <a:pPr marL="285750" indent="-285750" algn="just"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sões de psicologia individual:</a:t>
            </a:r>
            <a:endParaRPr lang="pt-BR" sz="3500" dirty="0"/>
          </a:p>
        </p:txBody>
      </p:sp>
      <p:sp>
        <p:nvSpPr>
          <p:cNvPr id="8" name="Text Box 6">
            <a:extLst>
              <a:ext uri="{FF2B5EF4-FFF2-40B4-BE49-F238E27FC236}">
                <a16:creationId xmlns:a16="http://schemas.microsoft.com/office/drawing/2014/main" id="{55EEC3A4-737D-5789-4FAC-71F05E4B46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4477" y="2513428"/>
            <a:ext cx="21157659" cy="1419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todas as opções de Plano, são garantidas as coberturas exigidas pela Lei 9656/98.  </a:t>
            </a:r>
          </a:p>
          <a:p>
            <a:pPr algn="just">
              <a:lnSpc>
                <a:spcPct val="130000"/>
              </a:lnSpc>
            </a:pPr>
            <a:r>
              <a:rPr lang="pt-BR" altLang="pt-BR" sz="35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heça algumas delas: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4AC989B1-03BE-982D-49B5-0F7BDA7A468F}"/>
              </a:ext>
            </a:extLst>
          </p:cNvPr>
          <p:cNvSpPr/>
          <p:nvPr/>
        </p:nvSpPr>
        <p:spPr>
          <a:xfrm>
            <a:off x="395037" y="1766258"/>
            <a:ext cx="12731370" cy="6617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altLang="pt-BR" sz="3700" b="1" spc="-1" dirty="0">
                <a:solidFill>
                  <a:srgbClr val="595959"/>
                </a:solidFill>
                <a:latin typeface="Arial"/>
                <a:ea typeface="DejaVu Sans"/>
              </a:rPr>
              <a:t>PROCEDIMENTOS MÉDICOS COBERTOS PELO PLANO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92FA6C5-5C35-CABE-9968-F0DD5BE9B575}"/>
              </a:ext>
            </a:extLst>
          </p:cNvPr>
          <p:cNvSpPr txBox="1"/>
          <p:nvPr/>
        </p:nvSpPr>
        <p:spPr>
          <a:xfrm>
            <a:off x="666344" y="402058"/>
            <a:ext cx="1218875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ea typeface="+mj-ea"/>
                <a:cs typeface="Arial" panose="020B0604020202020204" pitchFamily="34" charset="0"/>
              </a:rPr>
              <a:t>UTILIZAÇÃO DO PLANO</a:t>
            </a:r>
          </a:p>
        </p:txBody>
      </p:sp>
    </p:spTree>
    <p:extLst>
      <p:ext uri="{BB962C8B-B14F-4D97-AF65-F5344CB8AC3E}">
        <p14:creationId xmlns:p14="http://schemas.microsoft.com/office/powerpoint/2010/main" val="1776875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0"/>
            <a:ext cx="24382413" cy="13715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308DF50-21CF-4FC1-A9B2-9AC59F89F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7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UTILIZAÇÃO DO PLANO</a:t>
            </a:r>
            <a:br>
              <a:rPr lang="pt-BR" sz="7200" b="0" strike="noStrike" spc="-1" dirty="0">
                <a:latin typeface="Arial"/>
              </a:rPr>
            </a:br>
            <a:endParaRPr lang="pt-BR" sz="7200" b="1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ustomShape 1">
            <a:extLst>
              <a:ext uri="{FF2B5EF4-FFF2-40B4-BE49-F238E27FC236}">
                <a16:creationId xmlns:a16="http://schemas.microsoft.com/office/drawing/2014/main" id="{EFCF1C39-6C36-728E-922C-3169ACEA7E17}"/>
              </a:ext>
            </a:extLst>
          </p:cNvPr>
          <p:cNvSpPr/>
          <p:nvPr/>
        </p:nvSpPr>
        <p:spPr>
          <a:xfrm>
            <a:off x="486383" y="2744783"/>
            <a:ext cx="13988374" cy="9706621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160" tIns="46080" rIns="92160" bIns="46080">
            <a:noAutofit/>
          </a:bodyPr>
          <a:lstStyle/>
          <a:p>
            <a:pPr>
              <a:lnSpc>
                <a:spcPct val="114000"/>
              </a:lnSpc>
            </a:pPr>
            <a:r>
              <a:rPr lang="pt-BR" sz="4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QUE É A COPARTICIPAÇÃO?</a:t>
            </a:r>
          </a:p>
          <a:p>
            <a:pPr>
              <a:lnSpc>
                <a:spcPct val="114000"/>
              </a:lnSpc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quena contribuição dos beneficiários (colaboradores) na utilização dos serviços médicos oferecidos pelo plano de saúde.</a:t>
            </a:r>
          </a:p>
          <a:p>
            <a:pPr>
              <a:lnSpc>
                <a:spcPct val="114000"/>
              </a:lnSpc>
            </a:pPr>
            <a:endParaRPr lang="pt-BR" sz="4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4000"/>
              </a:lnSpc>
            </a:pPr>
            <a:r>
              <a:rPr lang="pt-BR" sz="4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 É FEITO O PAGAMENTO?</a:t>
            </a:r>
          </a:p>
          <a:p>
            <a:pPr>
              <a:lnSpc>
                <a:spcPct val="114000"/>
              </a:lnSpc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onto em folha de pagamento no prazo de 2 a 4 meses da utilização.</a:t>
            </a:r>
          </a:p>
          <a:p>
            <a:pPr>
              <a:lnSpc>
                <a:spcPct val="114000"/>
              </a:lnSpc>
            </a:pPr>
            <a:endParaRPr lang="pt-BR" sz="4000" b="1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4000"/>
              </a:lnSpc>
            </a:pPr>
            <a:r>
              <a:rPr lang="pt-BR" sz="4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QUANTO SERÁ DESCONTADO ?</a:t>
            </a:r>
          </a:p>
          <a:p>
            <a:pPr>
              <a:lnSpc>
                <a:spcPct val="114000"/>
              </a:lnSpc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ra no próximo slide.</a:t>
            </a:r>
          </a:p>
        </p:txBody>
      </p:sp>
      <p:pic>
        <p:nvPicPr>
          <p:cNvPr id="14" name="Imagem 1">
            <a:extLst>
              <a:ext uri="{FF2B5EF4-FFF2-40B4-BE49-F238E27FC236}">
                <a16:creationId xmlns:a16="http://schemas.microsoft.com/office/drawing/2014/main" id="{ADBB9D56-F04A-149B-54DF-CD0D7458FD02}"/>
              </a:ext>
            </a:extLst>
          </p:cNvPr>
          <p:cNvPicPr/>
          <p:nvPr/>
        </p:nvPicPr>
        <p:blipFill>
          <a:blip r:embed="rId3"/>
          <a:srcRect l="11873" r="26163"/>
          <a:stretch/>
        </p:blipFill>
        <p:spPr>
          <a:xfrm>
            <a:off x="14630400" y="0"/>
            <a:ext cx="9752013" cy="1194556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2275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12DC9FEB-F6C6-AAF0-0B63-DD92BD4B34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3577058"/>
              </p:ext>
            </p:extLst>
          </p:nvPr>
        </p:nvGraphicFramePr>
        <p:xfrm>
          <a:off x="2200275" y="3133736"/>
          <a:ext cx="18193753" cy="3151761"/>
        </p:xfrm>
        <a:graphic>
          <a:graphicData uri="http://schemas.openxmlformats.org/drawingml/2006/table">
            <a:tbl>
              <a:tblPr/>
              <a:tblGrid>
                <a:gridCol w="34850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418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522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412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77336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76971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bg1"/>
                          </a:solidFill>
                          <a:latin typeface="Arial"/>
                        </a:rPr>
                        <a:t>CONSULTAS ELETIVAS </a:t>
                      </a:r>
                      <a:endParaRPr lang="pt-BR" sz="3000" b="0" strike="noStrike" spc="-1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anchor="ctr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28080">
                      <a:solidFill>
                        <a:srgbClr val="000000"/>
                      </a:solidFill>
                    </a:lnT>
                    <a:lnB w="28080">
                      <a:solidFill>
                        <a:srgbClr val="000000"/>
                      </a:solidFill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bg1"/>
                          </a:solidFill>
                          <a:latin typeface="Arial"/>
                        </a:rPr>
                        <a:t>CONSULTAS EM PRONTOS SOCORROS</a:t>
                      </a:r>
                      <a:endParaRPr lang="pt-BR" sz="3000" b="0" strike="noStrike" spc="-1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anchor="ctr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28080">
                      <a:solidFill>
                        <a:srgbClr val="000000"/>
                      </a:solidFill>
                    </a:lnT>
                    <a:lnB w="28080">
                      <a:solidFill>
                        <a:srgbClr val="000000"/>
                      </a:solidFill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bg1"/>
                          </a:solidFill>
                          <a:latin typeface="Arial"/>
                        </a:rPr>
                        <a:t>EXAMES</a:t>
                      </a:r>
                      <a:endParaRPr lang="pt-BR" sz="3000" b="0" strike="noStrike" spc="-1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anchor="ctr">
                    <a:lnL w="12240">
                      <a:solidFill>
                        <a:srgbClr val="000000"/>
                      </a:solidFill>
                    </a:lnL>
                    <a:lnR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080">
                      <a:solidFill>
                        <a:srgbClr val="000000"/>
                      </a:solidFill>
                    </a:lnT>
                    <a:lnB w="280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bg1"/>
                          </a:solidFill>
                          <a:latin typeface="Arial"/>
                        </a:rPr>
                        <a:t>TERAPIAS</a:t>
                      </a:r>
                      <a:endParaRPr lang="pt-BR" sz="3000" b="0" strike="noStrike" spc="-1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anchor="ctr">
                    <a:lnL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240">
                      <a:solidFill>
                        <a:srgbClr val="000000"/>
                      </a:solidFill>
                    </a:lnR>
                    <a:lnT w="28080">
                      <a:solidFill>
                        <a:srgbClr val="000000"/>
                      </a:solidFill>
                    </a:lnT>
                    <a:lnB w="280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kern="1200" spc="-1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+mn-cs"/>
                        </a:rPr>
                        <a:t>INTERNAÇÃO</a:t>
                      </a:r>
                    </a:p>
                  </a:txBody>
                  <a:tcPr anchor="ctr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28080">
                      <a:solidFill>
                        <a:srgbClr val="000000"/>
                      </a:solidFill>
                    </a:lnT>
                    <a:lnB w="28080">
                      <a:solidFill>
                        <a:srgbClr val="000000"/>
                      </a:solidFill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8204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tx1"/>
                          </a:solidFill>
                          <a:latin typeface="Arial"/>
                        </a:rPr>
                        <a:t>30%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tx1"/>
                          </a:solidFill>
                          <a:latin typeface="Arial"/>
                        </a:rPr>
                        <a:t>Limitado R$ 30,00</a:t>
                      </a:r>
                    </a:p>
                  </a:txBody>
                  <a:tcPr anchor="ctr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28080">
                      <a:solidFill>
                        <a:srgbClr val="000000"/>
                      </a:solidFill>
                    </a:lnT>
                    <a:lnB w="2808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tx1"/>
                          </a:solidFill>
                          <a:latin typeface="Arial"/>
                        </a:rPr>
                        <a:t>30%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tx1"/>
                          </a:solidFill>
                          <a:latin typeface="Arial"/>
                        </a:rPr>
                        <a:t> Limitado R$ 70,00</a:t>
                      </a:r>
                    </a:p>
                  </a:txBody>
                  <a:tcPr anchor="ctr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28080">
                      <a:solidFill>
                        <a:srgbClr val="000000"/>
                      </a:solidFill>
                    </a:lnT>
                    <a:lnB w="2808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tx1"/>
                          </a:solidFill>
                          <a:latin typeface="Arial"/>
                        </a:rPr>
                        <a:t>30%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tx1"/>
                          </a:solidFill>
                          <a:latin typeface="Arial"/>
                        </a:rPr>
                        <a:t> Limitado R$ 30,00</a:t>
                      </a:r>
                    </a:p>
                  </a:txBody>
                  <a:tcPr anchor="ctr">
                    <a:lnL w="12240">
                      <a:solidFill>
                        <a:srgbClr val="000000"/>
                      </a:solidFill>
                    </a:lnL>
                    <a:lnR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080">
                      <a:solidFill>
                        <a:srgbClr val="000000"/>
                      </a:solidFill>
                    </a:lnT>
                    <a:lnB w="280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tx1"/>
                          </a:solidFill>
                          <a:latin typeface="Arial"/>
                        </a:rPr>
                        <a:t>30%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tx1"/>
                          </a:solidFill>
                          <a:latin typeface="Arial"/>
                        </a:rPr>
                        <a:t>Limitado R$ 30,00</a:t>
                      </a:r>
                    </a:p>
                  </a:txBody>
                  <a:tcPr anchor="ctr">
                    <a:lnL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240">
                      <a:solidFill>
                        <a:srgbClr val="000000"/>
                      </a:solidFill>
                    </a:lnR>
                    <a:lnT w="280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08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60"/>
                        </a:spcBef>
                      </a:pPr>
                      <a:r>
                        <a:rPr lang="pt-BR" sz="3000" b="1" strike="noStrike" spc="-1" dirty="0">
                          <a:solidFill>
                            <a:schemeClr val="tx1"/>
                          </a:solidFill>
                          <a:latin typeface="Arial"/>
                        </a:rPr>
                        <a:t>ISENTO</a:t>
                      </a:r>
                    </a:p>
                  </a:txBody>
                  <a:tcPr anchor="ctr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28080">
                      <a:solidFill>
                        <a:srgbClr val="000000"/>
                      </a:solidFill>
                    </a:lnT>
                    <a:lnB w="28080">
                      <a:solidFill>
                        <a:srgbClr val="000000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CaixaDeTexto 6">
            <a:extLst>
              <a:ext uri="{FF2B5EF4-FFF2-40B4-BE49-F238E27FC236}">
                <a16:creationId xmlns:a16="http://schemas.microsoft.com/office/drawing/2014/main" id="{79C70B3A-6952-40D1-ECB1-E50D864C674E}"/>
              </a:ext>
            </a:extLst>
          </p:cNvPr>
          <p:cNvSpPr txBox="1"/>
          <p:nvPr/>
        </p:nvSpPr>
        <p:spPr>
          <a:xfrm>
            <a:off x="666344" y="402058"/>
            <a:ext cx="1218875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ea typeface="+mj-ea"/>
                <a:cs typeface="Arial" panose="020B0604020202020204" pitchFamily="34" charset="0"/>
              </a:rPr>
              <a:t>UTILIZAÇÃO DO PLANO</a:t>
            </a:r>
          </a:p>
        </p:txBody>
      </p:sp>
      <p:sp>
        <p:nvSpPr>
          <p:cNvPr id="8" name="CustomShape 1">
            <a:extLst>
              <a:ext uri="{FF2B5EF4-FFF2-40B4-BE49-F238E27FC236}">
                <a16:creationId xmlns:a16="http://schemas.microsoft.com/office/drawing/2014/main" id="{6EE3FFED-3554-CC50-6102-AE1096801E20}"/>
              </a:ext>
            </a:extLst>
          </p:cNvPr>
          <p:cNvSpPr/>
          <p:nvPr/>
        </p:nvSpPr>
        <p:spPr>
          <a:xfrm>
            <a:off x="1075528" y="1696152"/>
            <a:ext cx="4508150" cy="7064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>
              <a:lnSpc>
                <a:spcPct val="100000"/>
              </a:lnSpc>
            </a:pPr>
            <a:r>
              <a:rPr lang="pt-BR" sz="4000" b="1" strike="noStrike" spc="-1" dirty="0">
                <a:solidFill>
                  <a:srgbClr val="595959"/>
                </a:solidFill>
                <a:latin typeface="Arial"/>
                <a:ea typeface="DejaVu Sans"/>
              </a:rPr>
              <a:t>Coparticipação</a:t>
            </a:r>
            <a:endParaRPr lang="pt-BR" sz="4000" b="0" strike="noStrike" spc="-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34437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602"/>
            <a:ext cx="9240252" cy="13660272"/>
          </a:xfrm>
          <a:prstGeom prst="rect">
            <a:avLst/>
          </a:prstGeom>
        </p:spPr>
      </p:pic>
      <p:sp>
        <p:nvSpPr>
          <p:cNvPr id="32" name="Retângulo 31"/>
          <p:cNvSpPr/>
          <p:nvPr/>
        </p:nvSpPr>
        <p:spPr>
          <a:xfrm>
            <a:off x="9144000" y="7602"/>
            <a:ext cx="15240000" cy="13716000"/>
          </a:xfrm>
          <a:prstGeom prst="rect">
            <a:avLst/>
          </a:prstGeom>
          <a:solidFill>
            <a:srgbClr val="F49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3600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13688034" y="2562096"/>
            <a:ext cx="958494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EDICINA PREVENTIVA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2748" y="-1328"/>
            <a:ext cx="175008" cy="13717328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372D5971-06A9-F8DC-A148-846C083F13DA}"/>
              </a:ext>
            </a:extLst>
          </p:cNvPr>
          <p:cNvSpPr txBox="1"/>
          <p:nvPr/>
        </p:nvSpPr>
        <p:spPr>
          <a:xfrm>
            <a:off x="10890578" y="8828529"/>
            <a:ext cx="1238239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6600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erão apresentados programas nas palestras especificas de cada região.</a:t>
            </a:r>
          </a:p>
          <a:p>
            <a:endParaRPr lang="pt-BR" sz="6600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07876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893"/>
            <a:ext cx="24382413" cy="13715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308DF50-21CF-4FC1-A9B2-9AC59F89F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8297" y="4990966"/>
            <a:ext cx="18093447" cy="2651126"/>
          </a:xfrm>
        </p:spPr>
        <p:txBody>
          <a:bodyPr>
            <a:normAutofit/>
          </a:bodyPr>
          <a:lstStyle/>
          <a:p>
            <a:pPr algn="ctr"/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REDE DE ATENDIMENTO</a:t>
            </a:r>
          </a:p>
        </p:txBody>
      </p:sp>
    </p:spTree>
    <p:extLst>
      <p:ext uri="{BB962C8B-B14F-4D97-AF65-F5344CB8AC3E}">
        <p14:creationId xmlns:p14="http://schemas.microsoft.com/office/powerpoint/2010/main" val="22611225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245F83D1-53E5-A1D2-365F-3307BD6DE3EB}"/>
              </a:ext>
            </a:extLst>
          </p:cNvPr>
          <p:cNvSpPr txBox="1"/>
          <p:nvPr/>
        </p:nvSpPr>
        <p:spPr>
          <a:xfrm>
            <a:off x="630676" y="545195"/>
            <a:ext cx="16645647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5000" b="1" dirty="0"/>
              <a:t>CONSULTA A REDE DE ATENDIMENTO</a:t>
            </a:r>
          </a:p>
          <a:p>
            <a:r>
              <a:rPr lang="pt-BR" sz="5000" b="1" dirty="0"/>
              <a:t>Exemplo de pesquisa nos municípios atendidos pela NDI:</a:t>
            </a:r>
          </a:p>
          <a:p>
            <a:endParaRPr lang="pt-BR" sz="5000" b="1" dirty="0"/>
          </a:p>
          <a:p>
            <a:endParaRPr lang="pt-BR" sz="5000" b="1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0A492398-916E-12B0-69C4-DF506F8949AD}"/>
              </a:ext>
            </a:extLst>
          </p:cNvPr>
          <p:cNvSpPr txBox="1"/>
          <p:nvPr/>
        </p:nvSpPr>
        <p:spPr>
          <a:xfrm>
            <a:off x="1016541" y="2450381"/>
            <a:ext cx="121887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dirty="0"/>
              <a:t>https://www.gndi.com.br/pesquisa-de-rede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314D7AC3-2774-AEA4-A292-B02A69D5AF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677" y="3560323"/>
            <a:ext cx="21241786" cy="7890635"/>
          </a:xfrm>
          <a:prstGeom prst="rect">
            <a:avLst/>
          </a:prstGeom>
        </p:spPr>
      </p:pic>
      <p:sp>
        <p:nvSpPr>
          <p:cNvPr id="13" name="Seta: para a Direita 12">
            <a:extLst>
              <a:ext uri="{FF2B5EF4-FFF2-40B4-BE49-F238E27FC236}">
                <a16:creationId xmlns:a16="http://schemas.microsoft.com/office/drawing/2014/main" id="{B4B7529D-C231-31B3-CFB5-936D8616829B}"/>
              </a:ext>
            </a:extLst>
          </p:cNvPr>
          <p:cNvSpPr/>
          <p:nvPr/>
        </p:nvSpPr>
        <p:spPr>
          <a:xfrm>
            <a:off x="199417" y="6925233"/>
            <a:ext cx="1634247" cy="149805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Seta: para Baixo 13">
            <a:extLst>
              <a:ext uri="{FF2B5EF4-FFF2-40B4-BE49-F238E27FC236}">
                <a16:creationId xmlns:a16="http://schemas.microsoft.com/office/drawing/2014/main" id="{101838AE-9B8B-61AA-A456-016A3118FCD5}"/>
              </a:ext>
            </a:extLst>
          </p:cNvPr>
          <p:cNvSpPr/>
          <p:nvPr/>
        </p:nvSpPr>
        <p:spPr>
          <a:xfrm>
            <a:off x="16031183" y="5904689"/>
            <a:ext cx="1245141" cy="95331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37013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893"/>
            <a:ext cx="24382413" cy="13715107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B07892A9-B464-98B8-0B98-25EB5A337901}"/>
              </a:ext>
            </a:extLst>
          </p:cNvPr>
          <p:cNvSpPr txBox="1">
            <a:spLocks/>
          </p:cNvSpPr>
          <p:nvPr/>
        </p:nvSpPr>
        <p:spPr>
          <a:xfrm>
            <a:off x="2451370" y="4757503"/>
            <a:ext cx="18093447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APLICATIVO GNDI EASY</a:t>
            </a:r>
          </a:p>
        </p:txBody>
      </p:sp>
    </p:spTree>
    <p:extLst>
      <p:ext uri="{BB962C8B-B14F-4D97-AF65-F5344CB8AC3E}">
        <p14:creationId xmlns:p14="http://schemas.microsoft.com/office/powerpoint/2010/main" val="15319059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893"/>
            <a:ext cx="24382413" cy="13715107"/>
          </a:xfrm>
          <a:prstGeom prst="rect">
            <a:avLst/>
          </a:prstGeom>
        </p:spPr>
      </p:pic>
      <p:pic>
        <p:nvPicPr>
          <p:cNvPr id="2" name="Passo a passo_ como instalar o aplicativo _ GNDI easy">
            <a:hlinkClick r:id="" action="ppaction://media"/>
            <a:extLst>
              <a:ext uri="{FF2B5EF4-FFF2-40B4-BE49-F238E27FC236}">
                <a16:creationId xmlns:a16="http://schemas.microsoft.com/office/drawing/2014/main" id="{A1CB6996-DE85-6CFA-B66F-D3E40D68525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28574"/>
            <a:ext cx="24382412" cy="13715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099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808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pic>
        <p:nvPicPr>
          <p:cNvPr id="3" name="Imagem 12">
            <a:extLst>
              <a:ext uri="{FF2B5EF4-FFF2-40B4-BE49-F238E27FC236}">
                <a16:creationId xmlns:a16="http://schemas.microsoft.com/office/drawing/2014/main" id="{B7399E65-88AF-6534-1158-B4E7E62C43BF}"/>
              </a:ext>
            </a:extLst>
          </p:cNvPr>
          <p:cNvPicPr/>
          <p:nvPr/>
        </p:nvPicPr>
        <p:blipFill>
          <a:blip r:embed="rId3"/>
          <a:srcRect l="52757" r="9523"/>
          <a:stretch/>
        </p:blipFill>
        <p:spPr>
          <a:xfrm>
            <a:off x="17323455" y="1"/>
            <a:ext cx="7059749" cy="10350098"/>
          </a:xfrm>
          <a:prstGeom prst="rect">
            <a:avLst/>
          </a:prstGeom>
          <a:ln>
            <a:noFill/>
          </a:ln>
        </p:spPr>
      </p:pic>
      <p:sp>
        <p:nvSpPr>
          <p:cNvPr id="4" name="CustomShape 2">
            <a:extLst>
              <a:ext uri="{FF2B5EF4-FFF2-40B4-BE49-F238E27FC236}">
                <a16:creationId xmlns:a16="http://schemas.microsoft.com/office/drawing/2014/main" id="{B04A30E4-CFC2-FF38-0287-E80AD965C51F}"/>
              </a:ext>
            </a:extLst>
          </p:cNvPr>
          <p:cNvSpPr/>
          <p:nvPr/>
        </p:nvSpPr>
        <p:spPr>
          <a:xfrm>
            <a:off x="278860" y="1910758"/>
            <a:ext cx="15619657" cy="878556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O novo aplicativo do </a:t>
            </a:r>
            <a:r>
              <a:rPr kumimoji="0" lang="pt-BR" sz="4500" b="1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Grupo </a:t>
            </a:r>
            <a:r>
              <a:rPr kumimoji="0" lang="pt-BR" sz="4500" b="1" i="0" u="none" strike="noStrike" kern="1200" cap="none" spc="-1" normalizeH="0" baseline="3000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NotreDame</a:t>
            </a:r>
            <a:r>
              <a:rPr kumimoji="0" lang="pt-BR" sz="4500" b="1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 Intermédica </a:t>
            </a: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coloca a saúde cada vez mais na era digital.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 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O que as empresas e seus funcionários ganham com isso?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Não precisam esperar mais a distribuição da carteirinha física para os beneficiários. O plano pode começar a ser usado muito mais rápido, a partir da vigência do contrato;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Como a carteirinha passa a ser digital, o beneficiário tem todas as informações na palma da mão, onde ele estiver, com a facilidade de compartilhá-la aos dependentes por e-mail ou WhatsApp;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Possibilidade de utilizar a carteirinha digital sem acesso a internet;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Verificar a cobertura do plano de </a:t>
            </a:r>
            <a:r>
              <a:rPr kumimoji="0" lang="pt-BR" sz="4500" b="0" i="0" u="none" strike="noStrike" kern="1200" cap="none" spc="-1" normalizeH="0" baseline="3000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sáude</a:t>
            </a: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.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Agendar e desmarcar consultas de um jeito rápido e fácil</a:t>
            </a:r>
            <a:r>
              <a:rPr kumimoji="0" lang="pt-BR" sz="50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;</a:t>
            </a:r>
            <a:endParaRPr kumimoji="0" lang="pt-BR" sz="50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50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pic>
        <p:nvPicPr>
          <p:cNvPr id="6" name="Imagem 2">
            <a:extLst>
              <a:ext uri="{FF2B5EF4-FFF2-40B4-BE49-F238E27FC236}">
                <a16:creationId xmlns:a16="http://schemas.microsoft.com/office/drawing/2014/main" id="{743E40DB-6049-FE31-A8A4-C431AF6B131C}"/>
              </a:ext>
            </a:extLst>
          </p:cNvPr>
          <p:cNvPicPr/>
          <p:nvPr/>
        </p:nvPicPr>
        <p:blipFill>
          <a:blip r:embed="rId4"/>
          <a:srcRect l="12308" t="82163" r="58232" b="14383"/>
          <a:stretch/>
        </p:blipFill>
        <p:spPr>
          <a:xfrm>
            <a:off x="836509" y="11805242"/>
            <a:ext cx="5836665" cy="1410766"/>
          </a:xfrm>
          <a:prstGeom prst="rect">
            <a:avLst/>
          </a:prstGeom>
          <a:ln>
            <a:noFill/>
          </a:ln>
        </p:spPr>
      </p:pic>
      <p:sp>
        <p:nvSpPr>
          <p:cNvPr id="7" name="CustomShape 1">
            <a:extLst>
              <a:ext uri="{FF2B5EF4-FFF2-40B4-BE49-F238E27FC236}">
                <a16:creationId xmlns:a16="http://schemas.microsoft.com/office/drawing/2014/main" id="{018A7343-8E10-C2C1-8E0A-3B952862A482}"/>
              </a:ext>
            </a:extLst>
          </p:cNvPr>
          <p:cNvSpPr/>
          <p:nvPr/>
        </p:nvSpPr>
        <p:spPr>
          <a:xfrm>
            <a:off x="278860" y="704780"/>
            <a:ext cx="7012440" cy="7064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1" u="none" strike="noStrike" kern="1200" cap="none" spc="-1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ea typeface="DejaVu Sans"/>
                <a:cs typeface="DejaVu Sans"/>
              </a:rPr>
              <a:t>GNDI EASY</a:t>
            </a:r>
            <a:endParaRPr kumimoji="0" lang="pt-BR" sz="4000" b="1" i="1" u="none" strike="noStrike" kern="1200" cap="none" spc="-1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grpSp>
        <p:nvGrpSpPr>
          <p:cNvPr id="8" name="Group 3">
            <a:extLst>
              <a:ext uri="{FF2B5EF4-FFF2-40B4-BE49-F238E27FC236}">
                <a16:creationId xmlns:a16="http://schemas.microsoft.com/office/drawing/2014/main" id="{BE69D721-BF6F-5802-66F3-9E340D5B6D0E}"/>
              </a:ext>
            </a:extLst>
          </p:cNvPr>
          <p:cNvGrpSpPr/>
          <p:nvPr/>
        </p:nvGrpSpPr>
        <p:grpSpPr>
          <a:xfrm>
            <a:off x="10272409" y="8988358"/>
            <a:ext cx="6731540" cy="4353854"/>
            <a:chOff x="4824000" y="5040000"/>
            <a:chExt cx="2873880" cy="1577880"/>
          </a:xfrm>
        </p:grpSpPr>
        <p:pic>
          <p:nvPicPr>
            <p:cNvPr id="9" name="Imagem 7">
              <a:extLst>
                <a:ext uri="{FF2B5EF4-FFF2-40B4-BE49-F238E27FC236}">
                  <a16:creationId xmlns:a16="http://schemas.microsoft.com/office/drawing/2014/main" id="{3F5E141B-3922-675E-E3CF-5E66947C1F40}"/>
                </a:ext>
              </a:extLst>
            </p:cNvPr>
            <p:cNvPicPr/>
            <p:nvPr/>
          </p:nvPicPr>
          <p:blipFill>
            <a:blip r:embed="rId5"/>
            <a:stretch/>
          </p:blipFill>
          <p:spPr>
            <a:xfrm>
              <a:off x="5541120" y="5169240"/>
              <a:ext cx="774000" cy="135288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Imagem 8">
              <a:extLst>
                <a:ext uri="{FF2B5EF4-FFF2-40B4-BE49-F238E27FC236}">
                  <a16:creationId xmlns:a16="http://schemas.microsoft.com/office/drawing/2014/main" id="{ECEF824B-A936-3760-D488-D146BE18ACAB}"/>
                </a:ext>
              </a:extLst>
            </p:cNvPr>
            <p:cNvPicPr/>
            <p:nvPr/>
          </p:nvPicPr>
          <p:blipFill>
            <a:blip r:embed="rId6"/>
            <a:stretch/>
          </p:blipFill>
          <p:spPr>
            <a:xfrm>
              <a:off x="6218280" y="5191560"/>
              <a:ext cx="783360" cy="13341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Imagem 11">
              <a:extLst>
                <a:ext uri="{FF2B5EF4-FFF2-40B4-BE49-F238E27FC236}">
                  <a16:creationId xmlns:a16="http://schemas.microsoft.com/office/drawing/2014/main" id="{8C70C5DB-4F4B-8B30-210F-8E53D9D9F4C6}"/>
                </a:ext>
              </a:extLst>
            </p:cNvPr>
            <p:cNvPicPr/>
            <p:nvPr/>
          </p:nvPicPr>
          <p:blipFill>
            <a:blip r:embed="rId7"/>
            <a:stretch/>
          </p:blipFill>
          <p:spPr>
            <a:xfrm>
              <a:off x="6923880" y="5172480"/>
              <a:ext cx="774000" cy="134352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Imagem 13">
              <a:extLst>
                <a:ext uri="{FF2B5EF4-FFF2-40B4-BE49-F238E27FC236}">
                  <a16:creationId xmlns:a16="http://schemas.microsoft.com/office/drawing/2014/main" id="{E3759E02-825F-C392-2AC3-02B5842C0616}"/>
                </a:ext>
              </a:extLst>
            </p:cNvPr>
            <p:cNvPicPr/>
            <p:nvPr/>
          </p:nvPicPr>
          <p:blipFill>
            <a:blip r:embed="rId8"/>
            <a:stretch/>
          </p:blipFill>
          <p:spPr>
            <a:xfrm>
              <a:off x="4824000" y="5040000"/>
              <a:ext cx="851040" cy="1577880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4506075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A71B8802-9E0B-E79F-E888-6D4DB803CA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2439" y="2689022"/>
            <a:ext cx="17759121" cy="8337955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80425570-0E7A-CCC8-089C-F53AF935F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70045" y="827527"/>
            <a:ext cx="18093447" cy="2651126"/>
          </a:xfrm>
        </p:spPr>
        <p:txBody>
          <a:bodyPr>
            <a:normAutofit/>
          </a:bodyPr>
          <a:lstStyle/>
          <a:p>
            <a:pPr algn="ctr"/>
            <a:r>
              <a:rPr lang="pt-BR" sz="6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PRINCIPAIS FUNCIONALIDADES</a:t>
            </a:r>
            <a:b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</a:br>
            <a:endParaRPr lang="pt-BR" sz="7200" b="1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8556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308DF50-21CF-4FC1-A9B2-9AC59F89F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7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Hapvida</a:t>
            </a: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 e </a:t>
            </a:r>
            <a:r>
              <a:rPr lang="pt-BR" sz="7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NotreDame</a:t>
            </a: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 Intermédica:</a:t>
            </a:r>
            <a:b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</a:b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Trajetórias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35C2101E-2BEF-C15E-42BD-056383AF5085}"/>
              </a:ext>
            </a:extLst>
          </p:cNvPr>
          <p:cNvGrpSpPr/>
          <p:nvPr/>
        </p:nvGrpSpPr>
        <p:grpSpPr>
          <a:xfrm>
            <a:off x="16195343" y="3773119"/>
            <a:ext cx="6868565" cy="6594261"/>
            <a:chOff x="5780387" y="996177"/>
            <a:chExt cx="2540941" cy="243973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" name="Freeform 113">
              <a:extLst>
                <a:ext uri="{FF2B5EF4-FFF2-40B4-BE49-F238E27FC236}">
                  <a16:creationId xmlns:a16="http://schemas.microsoft.com/office/drawing/2014/main" id="{F51138FB-A1AF-7A14-5477-4D88DA28D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6499" y="1912546"/>
              <a:ext cx="190691" cy="119833"/>
            </a:xfrm>
            <a:custGeom>
              <a:avLst/>
              <a:gdLst>
                <a:gd name="T0" fmla="*/ 16952679 w 48"/>
                <a:gd name="T1" fmla="*/ 1431750 h 31"/>
                <a:gd name="T2" fmla="*/ 12735956 w 48"/>
                <a:gd name="T3" fmla="*/ 1431750 h 31"/>
                <a:gd name="T4" fmla="*/ 10229606 w 48"/>
                <a:gd name="T5" fmla="*/ 1431750 h 31"/>
                <a:gd name="T6" fmla="*/ 5652130 w 48"/>
                <a:gd name="T7" fmla="*/ 3136515 h 31"/>
                <a:gd name="T8" fmla="*/ 3867884 w 48"/>
                <a:gd name="T9" fmla="*/ 1777747 h 31"/>
                <a:gd name="T10" fmla="*/ 3142882 w 48"/>
                <a:gd name="T11" fmla="*/ 0 h 31"/>
                <a:gd name="T12" fmla="*/ 0 w 48"/>
                <a:gd name="T13" fmla="*/ 1777747 h 31"/>
                <a:gd name="T14" fmla="*/ 1781243 w 48"/>
                <a:gd name="T15" fmla="*/ 3496712 h 31"/>
                <a:gd name="T16" fmla="*/ 7433253 w 48"/>
                <a:gd name="T17" fmla="*/ 6706183 h 31"/>
                <a:gd name="T18" fmla="*/ 9158667 w 48"/>
                <a:gd name="T19" fmla="*/ 10911952 h 31"/>
                <a:gd name="T20" fmla="*/ 16952679 w 48"/>
                <a:gd name="T21" fmla="*/ 1431750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31"/>
                <a:gd name="T35" fmla="*/ 48 w 48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31">
                  <a:moveTo>
                    <a:pt x="48" y="4"/>
                  </a:moveTo>
                  <a:lnTo>
                    <a:pt x="36" y="4"/>
                  </a:lnTo>
                  <a:lnTo>
                    <a:pt x="29" y="4"/>
                  </a:lnTo>
                  <a:lnTo>
                    <a:pt x="16" y="9"/>
                  </a:lnTo>
                  <a:lnTo>
                    <a:pt x="11" y="5"/>
                  </a:lnTo>
                  <a:lnTo>
                    <a:pt x="9" y="0"/>
                  </a:lnTo>
                  <a:lnTo>
                    <a:pt x="0" y="5"/>
                  </a:lnTo>
                  <a:lnTo>
                    <a:pt x="5" y="10"/>
                  </a:lnTo>
                  <a:lnTo>
                    <a:pt x="21" y="19"/>
                  </a:lnTo>
                  <a:lnTo>
                    <a:pt x="26" y="31"/>
                  </a:lnTo>
                  <a:lnTo>
                    <a:pt x="48" y="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Freeform 114">
              <a:extLst>
                <a:ext uri="{FF2B5EF4-FFF2-40B4-BE49-F238E27FC236}">
                  <a16:creationId xmlns:a16="http://schemas.microsoft.com/office/drawing/2014/main" id="{997FED6A-92C6-01C2-B6DE-BE14A3802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761" y="1796629"/>
              <a:ext cx="409544" cy="151162"/>
            </a:xfrm>
            <a:custGeom>
              <a:avLst/>
              <a:gdLst>
                <a:gd name="T0" fmla="*/ 12817372 w 103"/>
                <a:gd name="T1" fmla="*/ 3276467 h 39"/>
                <a:gd name="T2" fmla="*/ 11010393 w 103"/>
                <a:gd name="T3" fmla="*/ 1454448 h 39"/>
                <a:gd name="T4" fmla="*/ 4252823 w 103"/>
                <a:gd name="T5" fmla="*/ 0 h 39"/>
                <a:gd name="T6" fmla="*/ 4252823 w 103"/>
                <a:gd name="T7" fmla="*/ 3276467 h 39"/>
                <a:gd name="T8" fmla="*/ 2882250 w 103"/>
                <a:gd name="T9" fmla="*/ 7197653 h 39"/>
                <a:gd name="T10" fmla="*/ 1078887 w 103"/>
                <a:gd name="T11" fmla="*/ 6829349 h 39"/>
                <a:gd name="T12" fmla="*/ 0 w 103"/>
                <a:gd name="T13" fmla="*/ 8651981 h 39"/>
                <a:gd name="T14" fmla="*/ 1441419 w 103"/>
                <a:gd name="T15" fmla="*/ 8651981 h 39"/>
                <a:gd name="T16" fmla="*/ 1078887 w 103"/>
                <a:gd name="T17" fmla="*/ 10749942 h 39"/>
                <a:gd name="T18" fmla="*/ 2882250 w 103"/>
                <a:gd name="T19" fmla="*/ 12204271 h 39"/>
                <a:gd name="T20" fmla="*/ 4252823 w 103"/>
                <a:gd name="T21" fmla="*/ 12204271 h 39"/>
                <a:gd name="T22" fmla="*/ 6044949 w 103"/>
                <a:gd name="T23" fmla="*/ 10749942 h 39"/>
                <a:gd name="T24" fmla="*/ 7851310 w 103"/>
                <a:gd name="T25" fmla="*/ 10749942 h 39"/>
                <a:gd name="T26" fmla="*/ 11010393 w 103"/>
                <a:gd name="T27" fmla="*/ 7565243 h 39"/>
                <a:gd name="T28" fmla="*/ 14243353 w 103"/>
                <a:gd name="T29" fmla="*/ 10749942 h 39"/>
                <a:gd name="T30" fmla="*/ 15976324 w 103"/>
                <a:gd name="T31" fmla="*/ 10749942 h 39"/>
                <a:gd name="T32" fmla="*/ 17783422 w 103"/>
                <a:gd name="T33" fmla="*/ 12204271 h 39"/>
                <a:gd name="T34" fmla="*/ 21016367 w 103"/>
                <a:gd name="T35" fmla="*/ 10749942 h 39"/>
                <a:gd name="T36" fmla="*/ 21655730 w 103"/>
                <a:gd name="T37" fmla="*/ 12204271 h 39"/>
                <a:gd name="T38" fmla="*/ 23462096 w 103"/>
                <a:gd name="T39" fmla="*/ 14027002 h 39"/>
                <a:gd name="T40" fmla="*/ 28065629 w 103"/>
                <a:gd name="T41" fmla="*/ 12204271 h 39"/>
                <a:gd name="T42" fmla="*/ 34838055 w 103"/>
                <a:gd name="T43" fmla="*/ 12204271 h 39"/>
                <a:gd name="T44" fmla="*/ 36279463 w 103"/>
                <a:gd name="T45" fmla="*/ 7565243 h 39"/>
                <a:gd name="T46" fmla="*/ 36627145 w 103"/>
                <a:gd name="T47" fmla="*/ 2172269 h 39"/>
                <a:gd name="T48" fmla="*/ 33105538 w 103"/>
                <a:gd name="T49" fmla="*/ 3276467 h 39"/>
                <a:gd name="T50" fmla="*/ 26695164 w 103"/>
                <a:gd name="T51" fmla="*/ 5743225 h 39"/>
                <a:gd name="T52" fmla="*/ 24903643 w 103"/>
                <a:gd name="T53" fmla="*/ 7565243 h 39"/>
                <a:gd name="T54" fmla="*/ 23462096 w 103"/>
                <a:gd name="T55" fmla="*/ 7565243 h 39"/>
                <a:gd name="T56" fmla="*/ 23462096 w 103"/>
                <a:gd name="T57" fmla="*/ 5743225 h 39"/>
                <a:gd name="T58" fmla="*/ 24903643 w 103"/>
                <a:gd name="T59" fmla="*/ 1454448 h 39"/>
                <a:gd name="T60" fmla="*/ 23462096 w 103"/>
                <a:gd name="T61" fmla="*/ 1454448 h 39"/>
                <a:gd name="T62" fmla="*/ 20650821 w 103"/>
                <a:gd name="T63" fmla="*/ 3276467 h 39"/>
                <a:gd name="T64" fmla="*/ 12817372 w 103"/>
                <a:gd name="T65" fmla="*/ 3276467 h 3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3"/>
                <a:gd name="T100" fmla="*/ 0 h 39"/>
                <a:gd name="T101" fmla="*/ 103 w 103"/>
                <a:gd name="T102" fmla="*/ 39 h 3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3" h="39">
                  <a:moveTo>
                    <a:pt x="36" y="9"/>
                  </a:moveTo>
                  <a:lnTo>
                    <a:pt x="31" y="4"/>
                  </a:lnTo>
                  <a:lnTo>
                    <a:pt x="12" y="0"/>
                  </a:lnTo>
                  <a:lnTo>
                    <a:pt x="12" y="9"/>
                  </a:lnTo>
                  <a:lnTo>
                    <a:pt x="8" y="20"/>
                  </a:lnTo>
                  <a:lnTo>
                    <a:pt x="3" y="19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3" y="30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7" y="30"/>
                  </a:lnTo>
                  <a:lnTo>
                    <a:pt x="22" y="30"/>
                  </a:lnTo>
                  <a:lnTo>
                    <a:pt x="31" y="21"/>
                  </a:lnTo>
                  <a:lnTo>
                    <a:pt x="40" y="30"/>
                  </a:lnTo>
                  <a:lnTo>
                    <a:pt x="45" y="30"/>
                  </a:lnTo>
                  <a:lnTo>
                    <a:pt x="50" y="34"/>
                  </a:lnTo>
                  <a:lnTo>
                    <a:pt x="59" y="30"/>
                  </a:lnTo>
                  <a:lnTo>
                    <a:pt x="61" y="34"/>
                  </a:lnTo>
                  <a:lnTo>
                    <a:pt x="66" y="39"/>
                  </a:lnTo>
                  <a:lnTo>
                    <a:pt x="79" y="34"/>
                  </a:lnTo>
                  <a:lnTo>
                    <a:pt x="98" y="34"/>
                  </a:lnTo>
                  <a:lnTo>
                    <a:pt x="102" y="21"/>
                  </a:lnTo>
                  <a:lnTo>
                    <a:pt x="103" y="6"/>
                  </a:lnTo>
                  <a:lnTo>
                    <a:pt x="93" y="9"/>
                  </a:lnTo>
                  <a:lnTo>
                    <a:pt x="75" y="16"/>
                  </a:lnTo>
                  <a:lnTo>
                    <a:pt x="70" y="21"/>
                  </a:lnTo>
                  <a:lnTo>
                    <a:pt x="66" y="21"/>
                  </a:lnTo>
                  <a:lnTo>
                    <a:pt x="66" y="16"/>
                  </a:lnTo>
                  <a:lnTo>
                    <a:pt x="70" y="4"/>
                  </a:lnTo>
                  <a:lnTo>
                    <a:pt x="66" y="4"/>
                  </a:lnTo>
                  <a:lnTo>
                    <a:pt x="58" y="9"/>
                  </a:lnTo>
                  <a:lnTo>
                    <a:pt x="36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Freeform 115">
              <a:extLst>
                <a:ext uri="{FF2B5EF4-FFF2-40B4-BE49-F238E27FC236}">
                  <a16:creationId xmlns:a16="http://schemas.microsoft.com/office/drawing/2014/main" id="{DA7D86C6-E1FA-31EB-470F-8DFAADB075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3738" y="1509187"/>
              <a:ext cx="270347" cy="322687"/>
            </a:xfrm>
            <a:custGeom>
              <a:avLst/>
              <a:gdLst>
                <a:gd name="T0" fmla="*/ 24158854 w 68"/>
                <a:gd name="T1" fmla="*/ 12551685 h 83"/>
                <a:gd name="T2" fmla="*/ 22005668 w 68"/>
                <a:gd name="T3" fmla="*/ 12551685 h 83"/>
                <a:gd name="T4" fmla="*/ 19922958 w 68"/>
                <a:gd name="T5" fmla="*/ 9574333 h 83"/>
                <a:gd name="T6" fmla="*/ 11717031 w 68"/>
                <a:gd name="T7" fmla="*/ 4083515 h 83"/>
                <a:gd name="T8" fmla="*/ 6753911 w 68"/>
                <a:gd name="T9" fmla="*/ 0 h 83"/>
                <a:gd name="T10" fmla="*/ 1440205 w 68"/>
                <a:gd name="T11" fmla="*/ 2229932 h 83"/>
                <a:gd name="T12" fmla="*/ 0 w 68"/>
                <a:gd name="T13" fmla="*/ 3710124 h 83"/>
                <a:gd name="T14" fmla="*/ 1805629 w 68"/>
                <a:gd name="T15" fmla="*/ 9574333 h 83"/>
                <a:gd name="T16" fmla="*/ 1805629 w 68"/>
                <a:gd name="T17" fmla="*/ 11069061 h 83"/>
                <a:gd name="T18" fmla="*/ 1805629 w 68"/>
                <a:gd name="T19" fmla="*/ 12551685 h 83"/>
                <a:gd name="T20" fmla="*/ 1805629 w 68"/>
                <a:gd name="T21" fmla="*/ 16186466 h 83"/>
                <a:gd name="T22" fmla="*/ 3157501 w 68"/>
                <a:gd name="T23" fmla="*/ 22126606 h 83"/>
                <a:gd name="T24" fmla="*/ 4963124 w 68"/>
                <a:gd name="T25" fmla="*/ 25474209 h 83"/>
                <a:gd name="T26" fmla="*/ 4963124 w 68"/>
                <a:gd name="T27" fmla="*/ 27255498 h 83"/>
                <a:gd name="T28" fmla="*/ 11717031 w 68"/>
                <a:gd name="T29" fmla="*/ 28738121 h 83"/>
                <a:gd name="T30" fmla="*/ 13519631 w 68"/>
                <a:gd name="T31" fmla="*/ 30591704 h 83"/>
                <a:gd name="T32" fmla="*/ 16680154 w 68"/>
                <a:gd name="T33" fmla="*/ 30591704 h 83"/>
                <a:gd name="T34" fmla="*/ 16680154 w 68"/>
                <a:gd name="T35" fmla="*/ 28738121 h 83"/>
                <a:gd name="T36" fmla="*/ 16680154 w 68"/>
                <a:gd name="T37" fmla="*/ 25474209 h 83"/>
                <a:gd name="T38" fmla="*/ 16680154 w 68"/>
                <a:gd name="T39" fmla="*/ 23979473 h 83"/>
                <a:gd name="T40" fmla="*/ 18120358 w 68"/>
                <a:gd name="T41" fmla="*/ 20269971 h 83"/>
                <a:gd name="T42" fmla="*/ 24158854 w 68"/>
                <a:gd name="T43" fmla="*/ 12551685 h 8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8"/>
                <a:gd name="T67" fmla="*/ 0 h 83"/>
                <a:gd name="T68" fmla="*/ 68 w 68"/>
                <a:gd name="T69" fmla="*/ 83 h 8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8" h="83">
                  <a:moveTo>
                    <a:pt x="68" y="34"/>
                  </a:moveTo>
                  <a:lnTo>
                    <a:pt x="62" y="34"/>
                  </a:lnTo>
                  <a:lnTo>
                    <a:pt x="56" y="26"/>
                  </a:lnTo>
                  <a:lnTo>
                    <a:pt x="33" y="11"/>
                  </a:lnTo>
                  <a:lnTo>
                    <a:pt x="19" y="0"/>
                  </a:lnTo>
                  <a:lnTo>
                    <a:pt x="4" y="6"/>
                  </a:lnTo>
                  <a:lnTo>
                    <a:pt x="0" y="10"/>
                  </a:lnTo>
                  <a:lnTo>
                    <a:pt x="5" y="26"/>
                  </a:lnTo>
                  <a:lnTo>
                    <a:pt x="5" y="30"/>
                  </a:lnTo>
                  <a:lnTo>
                    <a:pt x="5" y="34"/>
                  </a:lnTo>
                  <a:lnTo>
                    <a:pt x="5" y="44"/>
                  </a:lnTo>
                  <a:lnTo>
                    <a:pt x="9" y="60"/>
                  </a:lnTo>
                  <a:lnTo>
                    <a:pt x="14" y="69"/>
                  </a:lnTo>
                  <a:lnTo>
                    <a:pt x="14" y="74"/>
                  </a:lnTo>
                  <a:lnTo>
                    <a:pt x="33" y="78"/>
                  </a:lnTo>
                  <a:lnTo>
                    <a:pt x="38" y="83"/>
                  </a:lnTo>
                  <a:lnTo>
                    <a:pt x="47" y="83"/>
                  </a:lnTo>
                  <a:lnTo>
                    <a:pt x="47" y="78"/>
                  </a:lnTo>
                  <a:lnTo>
                    <a:pt x="47" y="69"/>
                  </a:lnTo>
                  <a:lnTo>
                    <a:pt x="47" y="65"/>
                  </a:lnTo>
                  <a:lnTo>
                    <a:pt x="51" y="55"/>
                  </a:lnTo>
                  <a:lnTo>
                    <a:pt x="68" y="3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Freeform 116">
              <a:extLst>
                <a:ext uri="{FF2B5EF4-FFF2-40B4-BE49-F238E27FC236}">
                  <a16:creationId xmlns:a16="http://schemas.microsoft.com/office/drawing/2014/main" id="{D66CBD62-6557-8F02-0561-026ADEF73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0407" y="1642335"/>
              <a:ext cx="226898" cy="154295"/>
            </a:xfrm>
            <a:custGeom>
              <a:avLst/>
              <a:gdLst>
                <a:gd name="T0" fmla="*/ 3269296 w 57"/>
                <a:gd name="T1" fmla="*/ 10402359 h 40"/>
                <a:gd name="T2" fmla="*/ 0 w 57"/>
                <a:gd name="T3" fmla="*/ 10402359 h 40"/>
                <a:gd name="T4" fmla="*/ 1817010 w 57"/>
                <a:gd name="T5" fmla="*/ 7235381 h 40"/>
                <a:gd name="T6" fmla="*/ 7184381 w 57"/>
                <a:gd name="T7" fmla="*/ 0 h 40"/>
                <a:gd name="T8" fmla="*/ 8989418 w 57"/>
                <a:gd name="T9" fmla="*/ 1756156 h 40"/>
                <a:gd name="T10" fmla="*/ 12185083 w 57"/>
                <a:gd name="T11" fmla="*/ 3097564 h 40"/>
                <a:gd name="T12" fmla="*/ 17200071 w 57"/>
                <a:gd name="T13" fmla="*/ 3097564 h 40"/>
                <a:gd name="T14" fmla="*/ 19005108 w 57"/>
                <a:gd name="T15" fmla="*/ 5551505 h 40"/>
                <a:gd name="T16" fmla="*/ 20457398 w 57"/>
                <a:gd name="T17" fmla="*/ 10402359 h 40"/>
                <a:gd name="T18" fmla="*/ 12185083 w 57"/>
                <a:gd name="T19" fmla="*/ 10402359 h 40"/>
                <a:gd name="T20" fmla="*/ 10732190 w 57"/>
                <a:gd name="T21" fmla="*/ 12085527 h 40"/>
                <a:gd name="T22" fmla="*/ 10732190 w 57"/>
                <a:gd name="T23" fmla="*/ 13841712 h 40"/>
                <a:gd name="T24" fmla="*/ 8989418 w 57"/>
                <a:gd name="T25" fmla="*/ 12085527 h 40"/>
                <a:gd name="T26" fmla="*/ 5732116 w 57"/>
                <a:gd name="T27" fmla="*/ 12085527 h 40"/>
                <a:gd name="T28" fmla="*/ 5732116 w 57"/>
                <a:gd name="T29" fmla="*/ 10402359 h 40"/>
                <a:gd name="T30" fmla="*/ 7184381 w 57"/>
                <a:gd name="T31" fmla="*/ 8990951 h 40"/>
                <a:gd name="T32" fmla="*/ 7184381 w 57"/>
                <a:gd name="T33" fmla="*/ 7235381 h 40"/>
                <a:gd name="T34" fmla="*/ 5000097 w 57"/>
                <a:gd name="T35" fmla="*/ 8990951 h 40"/>
                <a:gd name="T36" fmla="*/ 3269296 w 57"/>
                <a:gd name="T37" fmla="*/ 10402359 h 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7"/>
                <a:gd name="T58" fmla="*/ 0 h 40"/>
                <a:gd name="T59" fmla="*/ 57 w 57"/>
                <a:gd name="T60" fmla="*/ 40 h 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7" h="40">
                  <a:moveTo>
                    <a:pt x="9" y="30"/>
                  </a:moveTo>
                  <a:lnTo>
                    <a:pt x="0" y="30"/>
                  </a:lnTo>
                  <a:lnTo>
                    <a:pt x="5" y="21"/>
                  </a:lnTo>
                  <a:lnTo>
                    <a:pt x="20" y="0"/>
                  </a:lnTo>
                  <a:lnTo>
                    <a:pt x="25" y="5"/>
                  </a:lnTo>
                  <a:lnTo>
                    <a:pt x="34" y="9"/>
                  </a:lnTo>
                  <a:lnTo>
                    <a:pt x="48" y="9"/>
                  </a:lnTo>
                  <a:lnTo>
                    <a:pt x="53" y="16"/>
                  </a:lnTo>
                  <a:lnTo>
                    <a:pt x="57" y="30"/>
                  </a:lnTo>
                  <a:cubicBezTo>
                    <a:pt x="50" y="30"/>
                    <a:pt x="41" y="30"/>
                    <a:pt x="34" y="30"/>
                  </a:cubicBezTo>
                  <a:lnTo>
                    <a:pt x="30" y="35"/>
                  </a:lnTo>
                  <a:lnTo>
                    <a:pt x="30" y="40"/>
                  </a:lnTo>
                  <a:lnTo>
                    <a:pt x="25" y="35"/>
                  </a:lnTo>
                  <a:lnTo>
                    <a:pt x="16" y="35"/>
                  </a:lnTo>
                  <a:lnTo>
                    <a:pt x="16" y="30"/>
                  </a:lnTo>
                  <a:lnTo>
                    <a:pt x="20" y="26"/>
                  </a:lnTo>
                  <a:lnTo>
                    <a:pt x="20" y="21"/>
                  </a:lnTo>
                  <a:lnTo>
                    <a:pt x="14" y="26"/>
                  </a:lnTo>
                  <a:lnTo>
                    <a:pt x="9" y="3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Freeform 117">
              <a:extLst>
                <a:ext uri="{FF2B5EF4-FFF2-40B4-BE49-F238E27FC236}">
                  <a16:creationId xmlns:a16="http://schemas.microsoft.com/office/drawing/2014/main" id="{62548C7F-5D2B-99E8-EF37-11F25009A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4076" y="2740411"/>
              <a:ext cx="384601" cy="270211"/>
            </a:xfrm>
            <a:custGeom>
              <a:avLst/>
              <a:gdLst>
                <a:gd name="T0" fmla="*/ 32319226 w 97"/>
                <a:gd name="T1" fmla="*/ 18431208 h 70"/>
                <a:gd name="T2" fmla="*/ 31961899 w 97"/>
                <a:gd name="T3" fmla="*/ 20208440 h 70"/>
                <a:gd name="T4" fmla="*/ 29213311 w 97"/>
                <a:gd name="T5" fmla="*/ 20208440 h 70"/>
                <a:gd name="T6" fmla="*/ 25760595 w 97"/>
                <a:gd name="T7" fmla="*/ 22601620 h 70"/>
                <a:gd name="T8" fmla="*/ 25760595 w 97"/>
                <a:gd name="T9" fmla="*/ 20208440 h 70"/>
                <a:gd name="T10" fmla="*/ 24342443 w 97"/>
                <a:gd name="T11" fmla="*/ 20208440 h 70"/>
                <a:gd name="T12" fmla="*/ 22581689 w 97"/>
                <a:gd name="T13" fmla="*/ 20208440 h 70"/>
                <a:gd name="T14" fmla="*/ 20893334 w 97"/>
                <a:gd name="T15" fmla="*/ 20208440 h 70"/>
                <a:gd name="T16" fmla="*/ 19475168 w 97"/>
                <a:gd name="T17" fmla="*/ 22601620 h 70"/>
                <a:gd name="T18" fmla="*/ 17714295 w 97"/>
                <a:gd name="T19" fmla="*/ 22601620 h 70"/>
                <a:gd name="T20" fmla="*/ 17714295 w 97"/>
                <a:gd name="T21" fmla="*/ 24366994 h 70"/>
                <a:gd name="T22" fmla="*/ 16023063 w 97"/>
                <a:gd name="T23" fmla="*/ 24366994 h 70"/>
                <a:gd name="T24" fmla="*/ 12844038 w 97"/>
                <a:gd name="T25" fmla="*/ 22601620 h 70"/>
                <a:gd name="T26" fmla="*/ 9737535 w 97"/>
                <a:gd name="T27" fmla="*/ 22601620 h 70"/>
                <a:gd name="T28" fmla="*/ 6631137 w 97"/>
                <a:gd name="T29" fmla="*/ 22601620 h 70"/>
                <a:gd name="T30" fmla="*/ 4867277 w 97"/>
                <a:gd name="T31" fmla="*/ 22601620 h 70"/>
                <a:gd name="T32" fmla="*/ 3106522 w 97"/>
                <a:gd name="T33" fmla="*/ 18431208 h 70"/>
                <a:gd name="T34" fmla="*/ 0 w 97"/>
                <a:gd name="T35" fmla="*/ 18431208 h 70"/>
                <a:gd name="T36" fmla="*/ 0 w 97"/>
                <a:gd name="T37" fmla="*/ 13557454 h 70"/>
                <a:gd name="T38" fmla="*/ 1760873 w 97"/>
                <a:gd name="T39" fmla="*/ 12225705 h 70"/>
                <a:gd name="T40" fmla="*/ 1760873 w 97"/>
                <a:gd name="T41" fmla="*/ 9044174 h 70"/>
                <a:gd name="T42" fmla="*/ 3106522 w 97"/>
                <a:gd name="T43" fmla="*/ 9044174 h 70"/>
                <a:gd name="T44" fmla="*/ 3106522 w 97"/>
                <a:gd name="T45" fmla="*/ 4873755 h 70"/>
                <a:gd name="T46" fmla="*/ 4867277 w 97"/>
                <a:gd name="T47" fmla="*/ 3454736 h 70"/>
                <a:gd name="T48" fmla="*/ 7976785 w 97"/>
                <a:gd name="T49" fmla="*/ 0 h 70"/>
                <a:gd name="T50" fmla="*/ 9737535 w 97"/>
                <a:gd name="T51" fmla="*/ 0 h 70"/>
                <a:gd name="T52" fmla="*/ 12844038 w 97"/>
                <a:gd name="T53" fmla="*/ 1762491 h 70"/>
                <a:gd name="T54" fmla="*/ 14604911 w 97"/>
                <a:gd name="T55" fmla="*/ 1762491 h 70"/>
                <a:gd name="T56" fmla="*/ 17714295 w 97"/>
                <a:gd name="T57" fmla="*/ 1762491 h 70"/>
                <a:gd name="T58" fmla="*/ 20893334 w 97"/>
                <a:gd name="T59" fmla="*/ 3454736 h 70"/>
                <a:gd name="T60" fmla="*/ 24342443 w 97"/>
                <a:gd name="T61" fmla="*/ 3454736 h 70"/>
                <a:gd name="T62" fmla="*/ 25760595 w 97"/>
                <a:gd name="T63" fmla="*/ 4873755 h 70"/>
                <a:gd name="T64" fmla="*/ 27451945 w 97"/>
                <a:gd name="T65" fmla="*/ 9044174 h 70"/>
                <a:gd name="T66" fmla="*/ 28855392 w 97"/>
                <a:gd name="T67" fmla="*/ 10448473 h 70"/>
                <a:gd name="T68" fmla="*/ 27091642 w 97"/>
                <a:gd name="T69" fmla="*/ 12225705 h 70"/>
                <a:gd name="T70" fmla="*/ 28855392 w 97"/>
                <a:gd name="T71" fmla="*/ 11867487 h 70"/>
                <a:gd name="T72" fmla="*/ 31961899 w 97"/>
                <a:gd name="T73" fmla="*/ 13557454 h 70"/>
                <a:gd name="T74" fmla="*/ 31961899 w 97"/>
                <a:gd name="T75" fmla="*/ 15322838 h 70"/>
                <a:gd name="T76" fmla="*/ 33737377 w 97"/>
                <a:gd name="T77" fmla="*/ 13557454 h 70"/>
                <a:gd name="T78" fmla="*/ 33737377 w 97"/>
                <a:gd name="T79" fmla="*/ 17026911 h 70"/>
                <a:gd name="T80" fmla="*/ 30974065 w 97"/>
                <a:gd name="T81" fmla="*/ 17026911 h 70"/>
                <a:gd name="T82" fmla="*/ 32319226 w 97"/>
                <a:gd name="T83" fmla="*/ 18431208 h 7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7"/>
                <a:gd name="T127" fmla="*/ 0 h 70"/>
                <a:gd name="T128" fmla="*/ 97 w 97"/>
                <a:gd name="T129" fmla="*/ 70 h 7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7" h="70">
                  <a:moveTo>
                    <a:pt x="93" y="53"/>
                  </a:moveTo>
                  <a:lnTo>
                    <a:pt x="92" y="58"/>
                  </a:lnTo>
                  <a:lnTo>
                    <a:pt x="84" y="58"/>
                  </a:lnTo>
                  <a:lnTo>
                    <a:pt x="74" y="65"/>
                  </a:lnTo>
                  <a:lnTo>
                    <a:pt x="74" y="58"/>
                  </a:lnTo>
                  <a:lnTo>
                    <a:pt x="70" y="58"/>
                  </a:lnTo>
                  <a:lnTo>
                    <a:pt x="65" y="58"/>
                  </a:lnTo>
                  <a:lnTo>
                    <a:pt x="60" y="58"/>
                  </a:lnTo>
                  <a:lnTo>
                    <a:pt x="56" y="65"/>
                  </a:lnTo>
                  <a:lnTo>
                    <a:pt x="51" y="65"/>
                  </a:lnTo>
                  <a:lnTo>
                    <a:pt x="51" y="70"/>
                  </a:lnTo>
                  <a:lnTo>
                    <a:pt x="46" y="70"/>
                  </a:lnTo>
                  <a:lnTo>
                    <a:pt x="37" y="65"/>
                  </a:lnTo>
                  <a:lnTo>
                    <a:pt x="28" y="65"/>
                  </a:lnTo>
                  <a:lnTo>
                    <a:pt x="19" y="65"/>
                  </a:lnTo>
                  <a:lnTo>
                    <a:pt x="14" y="65"/>
                  </a:lnTo>
                  <a:lnTo>
                    <a:pt x="9" y="53"/>
                  </a:lnTo>
                  <a:lnTo>
                    <a:pt x="0" y="53"/>
                  </a:lnTo>
                  <a:lnTo>
                    <a:pt x="0" y="39"/>
                  </a:lnTo>
                  <a:lnTo>
                    <a:pt x="5" y="35"/>
                  </a:lnTo>
                  <a:lnTo>
                    <a:pt x="5" y="26"/>
                  </a:lnTo>
                  <a:lnTo>
                    <a:pt x="9" y="26"/>
                  </a:lnTo>
                  <a:lnTo>
                    <a:pt x="9" y="14"/>
                  </a:lnTo>
                  <a:lnTo>
                    <a:pt x="14" y="10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37" y="5"/>
                  </a:lnTo>
                  <a:lnTo>
                    <a:pt x="42" y="5"/>
                  </a:lnTo>
                  <a:lnTo>
                    <a:pt x="51" y="5"/>
                  </a:lnTo>
                  <a:lnTo>
                    <a:pt x="60" y="10"/>
                  </a:lnTo>
                  <a:lnTo>
                    <a:pt x="70" y="10"/>
                  </a:lnTo>
                  <a:lnTo>
                    <a:pt x="74" y="14"/>
                  </a:lnTo>
                  <a:lnTo>
                    <a:pt x="79" y="26"/>
                  </a:lnTo>
                  <a:lnTo>
                    <a:pt x="83" y="30"/>
                  </a:lnTo>
                  <a:lnTo>
                    <a:pt x="78" y="35"/>
                  </a:lnTo>
                  <a:lnTo>
                    <a:pt x="83" y="34"/>
                  </a:lnTo>
                  <a:lnTo>
                    <a:pt x="92" y="39"/>
                  </a:lnTo>
                  <a:lnTo>
                    <a:pt x="92" y="44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89" y="49"/>
                  </a:lnTo>
                  <a:lnTo>
                    <a:pt x="93" y="53"/>
                  </a:lnTo>
                </a:path>
              </a:pathLst>
            </a:custGeom>
            <a:solidFill>
              <a:srgbClr val="FF990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Freeform 118">
              <a:extLst>
                <a:ext uri="{FF2B5EF4-FFF2-40B4-BE49-F238E27FC236}">
                  <a16:creationId xmlns:a16="http://schemas.microsoft.com/office/drawing/2014/main" id="{A8737C0F-F7A2-2091-E293-AD0D13BF2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4651" y="2965196"/>
              <a:ext cx="333911" cy="212253"/>
            </a:xfrm>
            <a:custGeom>
              <a:avLst/>
              <a:gdLst>
                <a:gd name="T0" fmla="*/ 0 w 84"/>
                <a:gd name="T1" fmla="*/ 6984641 h 55"/>
                <a:gd name="T2" fmla="*/ 2151301 w 84"/>
                <a:gd name="T3" fmla="*/ 5221718 h 55"/>
                <a:gd name="T4" fmla="*/ 2151301 w 84"/>
                <a:gd name="T5" fmla="*/ 2404810 h 55"/>
                <a:gd name="T6" fmla="*/ 10628448 w 84"/>
                <a:gd name="T7" fmla="*/ 2404810 h 55"/>
                <a:gd name="T8" fmla="*/ 13510137 w 84"/>
                <a:gd name="T9" fmla="*/ 4164846 h 55"/>
                <a:gd name="T10" fmla="*/ 15225994 w 84"/>
                <a:gd name="T11" fmla="*/ 3807644 h 55"/>
                <a:gd name="T12" fmla="*/ 15225994 w 84"/>
                <a:gd name="T13" fmla="*/ 2404810 h 55"/>
                <a:gd name="T14" fmla="*/ 17027597 w 84"/>
                <a:gd name="T15" fmla="*/ 2404810 h 55"/>
                <a:gd name="T16" fmla="*/ 18466955 w 84"/>
                <a:gd name="T17" fmla="*/ 0 h 55"/>
                <a:gd name="T18" fmla="*/ 23426040 w 84"/>
                <a:gd name="T19" fmla="*/ 0 h 55"/>
                <a:gd name="T20" fmla="*/ 23426040 w 84"/>
                <a:gd name="T21" fmla="*/ 2404810 h 55"/>
                <a:gd name="T22" fmla="*/ 26946503 w 84"/>
                <a:gd name="T23" fmla="*/ 0 h 55"/>
                <a:gd name="T24" fmla="*/ 29810338 w 84"/>
                <a:gd name="T25" fmla="*/ 0 h 55"/>
                <a:gd name="T26" fmla="*/ 28020582 w 84"/>
                <a:gd name="T27" fmla="*/ 2404810 h 55"/>
                <a:gd name="T28" fmla="*/ 28020582 w 84"/>
                <a:gd name="T29" fmla="*/ 13536698 h 55"/>
                <a:gd name="T30" fmla="*/ 26655154 w 84"/>
                <a:gd name="T31" fmla="*/ 13536698 h 55"/>
                <a:gd name="T32" fmla="*/ 26655154 w 84"/>
                <a:gd name="T33" fmla="*/ 15999289 h 55"/>
                <a:gd name="T34" fmla="*/ 23064496 w 84"/>
                <a:gd name="T35" fmla="*/ 19104366 h 55"/>
                <a:gd name="T36" fmla="*/ 19908704 w 84"/>
                <a:gd name="T37" fmla="*/ 19104366 h 55"/>
                <a:gd name="T38" fmla="*/ 23064496 w 84"/>
                <a:gd name="T39" fmla="*/ 15999289 h 55"/>
                <a:gd name="T40" fmla="*/ 21259899 w 84"/>
                <a:gd name="T41" fmla="*/ 13536698 h 55"/>
                <a:gd name="T42" fmla="*/ 18104690 w 84"/>
                <a:gd name="T43" fmla="*/ 13536698 h 55"/>
                <a:gd name="T44" fmla="*/ 11705540 w 84"/>
                <a:gd name="T45" fmla="*/ 6984641 h 55"/>
                <a:gd name="T46" fmla="*/ 0 w 84"/>
                <a:gd name="T47" fmla="*/ 6984641 h 5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4"/>
                <a:gd name="T73" fmla="*/ 0 h 55"/>
                <a:gd name="T74" fmla="*/ 84 w 84"/>
                <a:gd name="T75" fmla="*/ 55 h 5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4" h="55">
                  <a:moveTo>
                    <a:pt x="0" y="20"/>
                  </a:moveTo>
                  <a:lnTo>
                    <a:pt x="6" y="15"/>
                  </a:lnTo>
                  <a:lnTo>
                    <a:pt x="6" y="7"/>
                  </a:lnTo>
                  <a:lnTo>
                    <a:pt x="30" y="7"/>
                  </a:lnTo>
                  <a:lnTo>
                    <a:pt x="38" y="12"/>
                  </a:lnTo>
                  <a:lnTo>
                    <a:pt x="43" y="11"/>
                  </a:lnTo>
                  <a:lnTo>
                    <a:pt x="43" y="7"/>
                  </a:lnTo>
                  <a:lnTo>
                    <a:pt x="48" y="7"/>
                  </a:lnTo>
                  <a:lnTo>
                    <a:pt x="52" y="0"/>
                  </a:lnTo>
                  <a:lnTo>
                    <a:pt x="66" y="0"/>
                  </a:lnTo>
                  <a:lnTo>
                    <a:pt x="66" y="7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79" y="7"/>
                  </a:lnTo>
                  <a:cubicBezTo>
                    <a:pt x="79" y="17"/>
                    <a:pt x="79" y="28"/>
                    <a:pt x="79" y="39"/>
                  </a:cubicBezTo>
                  <a:lnTo>
                    <a:pt x="75" y="39"/>
                  </a:lnTo>
                  <a:lnTo>
                    <a:pt x="75" y="46"/>
                  </a:lnTo>
                  <a:lnTo>
                    <a:pt x="65" y="55"/>
                  </a:lnTo>
                  <a:lnTo>
                    <a:pt x="56" y="55"/>
                  </a:lnTo>
                  <a:lnTo>
                    <a:pt x="65" y="46"/>
                  </a:lnTo>
                  <a:lnTo>
                    <a:pt x="60" y="39"/>
                  </a:lnTo>
                  <a:lnTo>
                    <a:pt x="51" y="39"/>
                  </a:lnTo>
                  <a:lnTo>
                    <a:pt x="33" y="20"/>
                  </a:lnTo>
                  <a:lnTo>
                    <a:pt x="0" y="20"/>
                  </a:lnTo>
                </a:path>
              </a:pathLst>
            </a:custGeom>
            <a:solidFill>
              <a:srgbClr val="FF990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Freeform 119">
              <a:extLst>
                <a:ext uri="{FF2B5EF4-FFF2-40B4-BE49-F238E27FC236}">
                  <a16:creationId xmlns:a16="http://schemas.microsoft.com/office/drawing/2014/main" id="{966A0072-776F-8452-8AA9-B15846328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5109" y="3041952"/>
              <a:ext cx="457820" cy="393960"/>
            </a:xfrm>
            <a:custGeom>
              <a:avLst/>
              <a:gdLst>
                <a:gd name="T0" fmla="*/ 32307406 w 115"/>
                <a:gd name="T1" fmla="*/ 21700350 h 102"/>
                <a:gd name="T2" fmla="*/ 29843072 w 115"/>
                <a:gd name="T3" fmla="*/ 24462056 h 102"/>
                <a:gd name="T4" fmla="*/ 26204640 w 115"/>
                <a:gd name="T5" fmla="*/ 27655632 h 102"/>
                <a:gd name="T6" fmla="*/ 26936958 w 115"/>
                <a:gd name="T7" fmla="*/ 26246877 h 102"/>
                <a:gd name="T8" fmla="*/ 28389797 w 115"/>
                <a:gd name="T9" fmla="*/ 25182431 h 102"/>
                <a:gd name="T10" fmla="*/ 30560487 w 115"/>
                <a:gd name="T11" fmla="*/ 22406464 h 102"/>
                <a:gd name="T12" fmla="*/ 33392226 w 115"/>
                <a:gd name="T13" fmla="*/ 19212903 h 102"/>
                <a:gd name="T14" fmla="*/ 32307406 w 115"/>
                <a:gd name="T15" fmla="*/ 18148456 h 102"/>
                <a:gd name="T16" fmla="*/ 34113203 w 115"/>
                <a:gd name="T17" fmla="*/ 17515643 h 102"/>
                <a:gd name="T18" fmla="*/ 36298321 w 115"/>
                <a:gd name="T19" fmla="*/ 17156699 h 102"/>
                <a:gd name="T20" fmla="*/ 34477660 w 115"/>
                <a:gd name="T21" fmla="*/ 18509808 h 102"/>
                <a:gd name="T22" fmla="*/ 34113203 w 115"/>
                <a:gd name="T23" fmla="*/ 20277458 h 102"/>
                <a:gd name="T24" fmla="*/ 32307406 w 115"/>
                <a:gd name="T25" fmla="*/ 21700350 h 102"/>
                <a:gd name="T26" fmla="*/ 36298321 w 115"/>
                <a:gd name="T27" fmla="*/ 20277458 h 102"/>
                <a:gd name="T28" fmla="*/ 38045359 w 115"/>
                <a:gd name="T29" fmla="*/ 15389631 h 102"/>
                <a:gd name="T30" fmla="*/ 41300889 w 115"/>
                <a:gd name="T31" fmla="*/ 12266001 h 102"/>
                <a:gd name="T32" fmla="*/ 39498159 w 115"/>
                <a:gd name="T33" fmla="*/ 12266001 h 102"/>
                <a:gd name="T34" fmla="*/ 38045359 w 115"/>
                <a:gd name="T35" fmla="*/ 12266001 h 102"/>
                <a:gd name="T36" fmla="*/ 39498159 w 115"/>
                <a:gd name="T37" fmla="*/ 10498924 h 102"/>
                <a:gd name="T38" fmla="*/ 41300889 w 115"/>
                <a:gd name="T39" fmla="*/ 9075446 h 102"/>
                <a:gd name="T40" fmla="*/ 39498159 w 115"/>
                <a:gd name="T41" fmla="*/ 6672641 h 102"/>
                <a:gd name="T42" fmla="*/ 36298321 w 115"/>
                <a:gd name="T43" fmla="*/ 6672641 h 102"/>
                <a:gd name="T44" fmla="*/ 29843072 w 115"/>
                <a:gd name="T45" fmla="*/ 0 h 102"/>
                <a:gd name="T46" fmla="*/ 17928596 w 115"/>
                <a:gd name="T47" fmla="*/ 0 h 102"/>
                <a:gd name="T48" fmla="*/ 16549559 w 115"/>
                <a:gd name="T49" fmla="*/ 1770067 h 102"/>
                <a:gd name="T50" fmla="*/ 13278482 w 115"/>
                <a:gd name="T51" fmla="*/ 1770067 h 102"/>
                <a:gd name="T52" fmla="*/ 8276041 w 115"/>
                <a:gd name="T53" fmla="*/ 6672641 h 102"/>
                <a:gd name="T54" fmla="*/ 5002569 w 115"/>
                <a:gd name="T55" fmla="*/ 12266001 h 102"/>
                <a:gd name="T56" fmla="*/ 3270439 w 115"/>
                <a:gd name="T57" fmla="*/ 12266001 h 102"/>
                <a:gd name="T58" fmla="*/ 0 w 115"/>
                <a:gd name="T59" fmla="*/ 15389631 h 102"/>
                <a:gd name="T60" fmla="*/ 0 w 115"/>
                <a:gd name="T61" fmla="*/ 17156699 h 102"/>
                <a:gd name="T62" fmla="*/ 1820676 w 115"/>
                <a:gd name="T63" fmla="*/ 18509808 h 102"/>
                <a:gd name="T64" fmla="*/ 1820676 w 115"/>
                <a:gd name="T65" fmla="*/ 17156699 h 102"/>
                <a:gd name="T66" fmla="*/ 5002569 w 115"/>
                <a:gd name="T67" fmla="*/ 17156699 h 102"/>
                <a:gd name="T68" fmla="*/ 5002569 w 115"/>
                <a:gd name="T69" fmla="*/ 18509808 h 102"/>
                <a:gd name="T70" fmla="*/ 6823246 w 115"/>
                <a:gd name="T71" fmla="*/ 20277458 h 102"/>
                <a:gd name="T72" fmla="*/ 6823246 w 115"/>
                <a:gd name="T73" fmla="*/ 21700350 h 102"/>
                <a:gd name="T74" fmla="*/ 8276041 w 115"/>
                <a:gd name="T75" fmla="*/ 21700350 h 102"/>
                <a:gd name="T76" fmla="*/ 10093679 w 115"/>
                <a:gd name="T77" fmla="*/ 20277458 h 102"/>
                <a:gd name="T78" fmla="*/ 13278482 w 115"/>
                <a:gd name="T79" fmla="*/ 24117866 h 102"/>
                <a:gd name="T80" fmla="*/ 14731896 w 115"/>
                <a:gd name="T81" fmla="*/ 24117866 h 102"/>
                <a:gd name="T82" fmla="*/ 16549559 w 115"/>
                <a:gd name="T83" fmla="*/ 25885566 h 102"/>
                <a:gd name="T84" fmla="*/ 17928596 w 115"/>
                <a:gd name="T85" fmla="*/ 27655632 h 102"/>
                <a:gd name="T86" fmla="*/ 21567004 w 115"/>
                <a:gd name="T87" fmla="*/ 30776381 h 102"/>
                <a:gd name="T88" fmla="*/ 21567004 w 115"/>
                <a:gd name="T89" fmla="*/ 32546329 h 102"/>
                <a:gd name="T90" fmla="*/ 19749366 w 115"/>
                <a:gd name="T91" fmla="*/ 32546329 h 102"/>
                <a:gd name="T92" fmla="*/ 19749366 w 115"/>
                <a:gd name="T93" fmla="*/ 33896440 h 102"/>
                <a:gd name="T94" fmla="*/ 21567004 w 115"/>
                <a:gd name="T95" fmla="*/ 35667098 h 102"/>
                <a:gd name="T96" fmla="*/ 24751840 w 115"/>
                <a:gd name="T97" fmla="*/ 32546329 h 102"/>
                <a:gd name="T98" fmla="*/ 26572026 w 115"/>
                <a:gd name="T99" fmla="*/ 29367646 h 102"/>
                <a:gd name="T100" fmla="*/ 28022411 w 115"/>
                <a:gd name="T101" fmla="*/ 27655632 h 102"/>
                <a:gd name="T102" fmla="*/ 31222110 w 115"/>
                <a:gd name="T103" fmla="*/ 24823980 h 102"/>
                <a:gd name="T104" fmla="*/ 36298321 w 115"/>
                <a:gd name="T105" fmla="*/ 20277458 h 102"/>
                <a:gd name="T106" fmla="*/ 36298321 w 115"/>
                <a:gd name="T107" fmla="*/ 20277458 h 1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5"/>
                <a:gd name="T163" fmla="*/ 0 h 102"/>
                <a:gd name="T164" fmla="*/ 115 w 115"/>
                <a:gd name="T165" fmla="*/ 102 h 10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5" h="102">
                  <a:moveTo>
                    <a:pt x="90" y="62"/>
                  </a:moveTo>
                  <a:lnTo>
                    <a:pt x="83" y="70"/>
                  </a:lnTo>
                  <a:lnTo>
                    <a:pt x="73" y="79"/>
                  </a:lnTo>
                  <a:lnTo>
                    <a:pt x="75" y="75"/>
                  </a:lnTo>
                  <a:lnTo>
                    <a:pt x="79" y="72"/>
                  </a:lnTo>
                  <a:lnTo>
                    <a:pt x="85" y="64"/>
                  </a:lnTo>
                  <a:lnTo>
                    <a:pt x="93" y="55"/>
                  </a:lnTo>
                  <a:lnTo>
                    <a:pt x="90" y="52"/>
                  </a:lnTo>
                  <a:lnTo>
                    <a:pt x="95" y="50"/>
                  </a:lnTo>
                  <a:lnTo>
                    <a:pt x="101" y="49"/>
                  </a:lnTo>
                  <a:lnTo>
                    <a:pt x="96" y="53"/>
                  </a:lnTo>
                  <a:lnTo>
                    <a:pt x="95" y="58"/>
                  </a:lnTo>
                  <a:lnTo>
                    <a:pt x="90" y="62"/>
                  </a:lnTo>
                  <a:moveTo>
                    <a:pt x="101" y="58"/>
                  </a:moveTo>
                  <a:lnTo>
                    <a:pt x="106" y="44"/>
                  </a:lnTo>
                  <a:lnTo>
                    <a:pt x="115" y="35"/>
                  </a:lnTo>
                  <a:lnTo>
                    <a:pt x="110" y="35"/>
                  </a:lnTo>
                  <a:lnTo>
                    <a:pt x="106" y="35"/>
                  </a:lnTo>
                  <a:lnTo>
                    <a:pt x="110" y="30"/>
                  </a:lnTo>
                  <a:lnTo>
                    <a:pt x="115" y="26"/>
                  </a:lnTo>
                  <a:lnTo>
                    <a:pt x="110" y="19"/>
                  </a:lnTo>
                  <a:lnTo>
                    <a:pt x="101" y="19"/>
                  </a:lnTo>
                  <a:lnTo>
                    <a:pt x="83" y="0"/>
                  </a:lnTo>
                  <a:lnTo>
                    <a:pt x="50" y="0"/>
                  </a:lnTo>
                  <a:lnTo>
                    <a:pt x="46" y="5"/>
                  </a:lnTo>
                  <a:lnTo>
                    <a:pt x="37" y="5"/>
                  </a:lnTo>
                  <a:lnTo>
                    <a:pt x="23" y="19"/>
                  </a:lnTo>
                  <a:lnTo>
                    <a:pt x="14" y="35"/>
                  </a:lnTo>
                  <a:lnTo>
                    <a:pt x="9" y="35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14" y="49"/>
                  </a:lnTo>
                  <a:lnTo>
                    <a:pt x="14" y="53"/>
                  </a:lnTo>
                  <a:lnTo>
                    <a:pt x="19" y="58"/>
                  </a:lnTo>
                  <a:lnTo>
                    <a:pt x="19" y="62"/>
                  </a:lnTo>
                  <a:lnTo>
                    <a:pt x="23" y="62"/>
                  </a:lnTo>
                  <a:lnTo>
                    <a:pt x="28" y="58"/>
                  </a:lnTo>
                  <a:lnTo>
                    <a:pt x="37" y="69"/>
                  </a:lnTo>
                  <a:lnTo>
                    <a:pt x="41" y="69"/>
                  </a:lnTo>
                  <a:lnTo>
                    <a:pt x="46" y="74"/>
                  </a:lnTo>
                  <a:lnTo>
                    <a:pt x="50" y="79"/>
                  </a:lnTo>
                  <a:lnTo>
                    <a:pt x="60" y="88"/>
                  </a:lnTo>
                  <a:lnTo>
                    <a:pt x="60" y="93"/>
                  </a:lnTo>
                  <a:lnTo>
                    <a:pt x="55" y="93"/>
                  </a:lnTo>
                  <a:lnTo>
                    <a:pt x="55" y="97"/>
                  </a:lnTo>
                  <a:lnTo>
                    <a:pt x="60" y="102"/>
                  </a:lnTo>
                  <a:lnTo>
                    <a:pt x="69" y="93"/>
                  </a:lnTo>
                  <a:lnTo>
                    <a:pt x="74" y="84"/>
                  </a:lnTo>
                  <a:lnTo>
                    <a:pt x="78" y="79"/>
                  </a:lnTo>
                  <a:lnTo>
                    <a:pt x="87" y="71"/>
                  </a:lnTo>
                  <a:lnTo>
                    <a:pt x="101" y="58"/>
                  </a:lnTo>
                </a:path>
              </a:pathLst>
            </a:custGeom>
            <a:solidFill>
              <a:srgbClr val="FF990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highlight>
                  <a:srgbClr val="F5821F"/>
                </a:highlight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Freeform 120">
              <a:extLst>
                <a:ext uri="{FF2B5EF4-FFF2-40B4-BE49-F238E27FC236}">
                  <a16:creationId xmlns:a16="http://schemas.microsoft.com/office/drawing/2014/main" id="{C57D0C6A-1263-F0F2-6612-3E3EC23D4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0973" y="2117750"/>
              <a:ext cx="452992" cy="436254"/>
            </a:xfrm>
            <a:custGeom>
              <a:avLst/>
              <a:gdLst>
                <a:gd name="T0" fmla="*/ 38910865 w 114"/>
                <a:gd name="T1" fmla="*/ 1763433 h 113"/>
                <a:gd name="T2" fmla="*/ 37186367 w 114"/>
                <a:gd name="T3" fmla="*/ 1763433 h 113"/>
                <a:gd name="T4" fmla="*/ 33963460 w 114"/>
                <a:gd name="T5" fmla="*/ 1763433 h 113"/>
                <a:gd name="T6" fmla="*/ 31528199 w 114"/>
                <a:gd name="T7" fmla="*/ 1763433 h 113"/>
                <a:gd name="T8" fmla="*/ 29741771 w 114"/>
                <a:gd name="T9" fmla="*/ 0 h 113"/>
                <a:gd name="T10" fmla="*/ 26157753 w 114"/>
                <a:gd name="T11" fmla="*/ 0 h 113"/>
                <a:gd name="T12" fmla="*/ 24433235 w 114"/>
                <a:gd name="T13" fmla="*/ 1763433 h 113"/>
                <a:gd name="T14" fmla="*/ 21574954 w 114"/>
                <a:gd name="T15" fmla="*/ 1763433 h 113"/>
                <a:gd name="T16" fmla="*/ 20209161 w 114"/>
                <a:gd name="T17" fmla="*/ 0 h 113"/>
                <a:gd name="T18" fmla="*/ 16263421 w 114"/>
                <a:gd name="T19" fmla="*/ 0 h 113"/>
                <a:gd name="T20" fmla="*/ 16263421 w 114"/>
                <a:gd name="T21" fmla="*/ 1419823 h 113"/>
                <a:gd name="T22" fmla="*/ 14480015 w 114"/>
                <a:gd name="T23" fmla="*/ 1763433 h 113"/>
                <a:gd name="T24" fmla="*/ 13114237 w 114"/>
                <a:gd name="T25" fmla="*/ 5578188 h 113"/>
                <a:gd name="T26" fmla="*/ 11316006 w 114"/>
                <a:gd name="T27" fmla="*/ 10469739 h 113"/>
                <a:gd name="T28" fmla="*/ 9533215 w 114"/>
                <a:gd name="T29" fmla="*/ 13569152 h 113"/>
                <a:gd name="T30" fmla="*/ 8166829 w 114"/>
                <a:gd name="T31" fmla="*/ 13569152 h 113"/>
                <a:gd name="T32" fmla="*/ 6733229 w 114"/>
                <a:gd name="T33" fmla="*/ 18460705 h 113"/>
                <a:gd name="T34" fmla="*/ 4947407 w 114"/>
                <a:gd name="T35" fmla="*/ 18460705 h 113"/>
                <a:gd name="T36" fmla="*/ 3510903 w 114"/>
                <a:gd name="T37" fmla="*/ 22619074 h 113"/>
                <a:gd name="T38" fmla="*/ 361115 w 114"/>
                <a:gd name="T39" fmla="*/ 24038881 h 113"/>
                <a:gd name="T40" fmla="*/ 361115 w 114"/>
                <a:gd name="T41" fmla="*/ 27496026 h 113"/>
                <a:gd name="T42" fmla="*/ 0 w 114"/>
                <a:gd name="T43" fmla="*/ 30336134 h 113"/>
                <a:gd name="T44" fmla="*/ 0 w 114"/>
                <a:gd name="T45" fmla="*/ 32029867 h 113"/>
                <a:gd name="T46" fmla="*/ 1783401 w 114"/>
                <a:gd name="T47" fmla="*/ 32029867 h 113"/>
                <a:gd name="T48" fmla="*/ 0 w 114"/>
                <a:gd name="T49" fmla="*/ 34150903 h 113"/>
                <a:gd name="T50" fmla="*/ 1783401 w 114"/>
                <a:gd name="T51" fmla="*/ 34497505 h 113"/>
                <a:gd name="T52" fmla="*/ 7094927 w 114"/>
                <a:gd name="T53" fmla="*/ 36275054 h 113"/>
                <a:gd name="T54" fmla="*/ 9894330 w 114"/>
                <a:gd name="T55" fmla="*/ 37608028 h 113"/>
                <a:gd name="T56" fmla="*/ 11680612 w 114"/>
                <a:gd name="T57" fmla="*/ 39389048 h 113"/>
                <a:gd name="T58" fmla="*/ 13464018 w 114"/>
                <a:gd name="T59" fmla="*/ 37608028 h 113"/>
                <a:gd name="T60" fmla="*/ 14826932 w 114"/>
                <a:gd name="T61" fmla="*/ 34497505 h 113"/>
                <a:gd name="T62" fmla="*/ 21574954 w 114"/>
                <a:gd name="T63" fmla="*/ 34497505 h 113"/>
                <a:gd name="T64" fmla="*/ 22996638 w 114"/>
                <a:gd name="T65" fmla="*/ 32387589 h 113"/>
                <a:gd name="T66" fmla="*/ 26507544 w 114"/>
                <a:gd name="T67" fmla="*/ 34497505 h 113"/>
                <a:gd name="T68" fmla="*/ 29741771 w 114"/>
                <a:gd name="T69" fmla="*/ 34497505 h 113"/>
                <a:gd name="T70" fmla="*/ 32891587 w 114"/>
                <a:gd name="T71" fmla="*/ 30682618 h 113"/>
                <a:gd name="T72" fmla="*/ 32891587 w 114"/>
                <a:gd name="T73" fmla="*/ 28916327 h 113"/>
                <a:gd name="T74" fmla="*/ 31528199 w 114"/>
                <a:gd name="T75" fmla="*/ 28916327 h 113"/>
                <a:gd name="T76" fmla="*/ 31528199 w 114"/>
                <a:gd name="T77" fmla="*/ 27496026 h 113"/>
                <a:gd name="T78" fmla="*/ 32891587 w 114"/>
                <a:gd name="T79" fmla="*/ 25805192 h 113"/>
                <a:gd name="T80" fmla="*/ 32891587 w 114"/>
                <a:gd name="T81" fmla="*/ 20928357 h 113"/>
                <a:gd name="T82" fmla="*/ 35400077 w 114"/>
                <a:gd name="T83" fmla="*/ 18460705 h 113"/>
                <a:gd name="T84" fmla="*/ 35400077 w 114"/>
                <a:gd name="T85" fmla="*/ 17113603 h 113"/>
                <a:gd name="T86" fmla="*/ 33602350 w 114"/>
                <a:gd name="T87" fmla="*/ 15347303 h 113"/>
                <a:gd name="T88" fmla="*/ 35400077 w 114"/>
                <a:gd name="T89" fmla="*/ 13569152 h 113"/>
                <a:gd name="T90" fmla="*/ 37186367 w 114"/>
                <a:gd name="T91" fmla="*/ 13569152 h 113"/>
                <a:gd name="T92" fmla="*/ 37186367 w 114"/>
                <a:gd name="T93" fmla="*/ 12236158 h 113"/>
                <a:gd name="T94" fmla="*/ 38910865 w 114"/>
                <a:gd name="T95" fmla="*/ 13569152 h 113"/>
                <a:gd name="T96" fmla="*/ 40332667 w 114"/>
                <a:gd name="T97" fmla="*/ 13569152 h 113"/>
                <a:gd name="T98" fmla="*/ 40332667 w 114"/>
                <a:gd name="T99" fmla="*/ 10469739 h 113"/>
                <a:gd name="T100" fmla="*/ 38910865 w 114"/>
                <a:gd name="T101" fmla="*/ 7359213 h 113"/>
                <a:gd name="T102" fmla="*/ 38910865 w 114"/>
                <a:gd name="T103" fmla="*/ 5578188 h 113"/>
                <a:gd name="T104" fmla="*/ 40332667 w 114"/>
                <a:gd name="T105" fmla="*/ 5578188 h 113"/>
                <a:gd name="T106" fmla="*/ 38910865 w 114"/>
                <a:gd name="T107" fmla="*/ 3113547 h 113"/>
                <a:gd name="T108" fmla="*/ 38910865 w 114"/>
                <a:gd name="T109" fmla="*/ 1763433 h 11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4"/>
                <a:gd name="T166" fmla="*/ 0 h 113"/>
                <a:gd name="T167" fmla="*/ 114 w 114"/>
                <a:gd name="T168" fmla="*/ 113 h 11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4" h="113">
                  <a:moveTo>
                    <a:pt x="110" y="5"/>
                  </a:moveTo>
                  <a:lnTo>
                    <a:pt x="105" y="5"/>
                  </a:lnTo>
                  <a:lnTo>
                    <a:pt x="96" y="5"/>
                  </a:lnTo>
                  <a:lnTo>
                    <a:pt x="89" y="5"/>
                  </a:lnTo>
                  <a:lnTo>
                    <a:pt x="84" y="0"/>
                  </a:lnTo>
                  <a:lnTo>
                    <a:pt x="74" y="0"/>
                  </a:lnTo>
                  <a:lnTo>
                    <a:pt x="69" y="5"/>
                  </a:lnTo>
                  <a:lnTo>
                    <a:pt x="61" y="5"/>
                  </a:lnTo>
                  <a:lnTo>
                    <a:pt x="57" y="0"/>
                  </a:lnTo>
                  <a:lnTo>
                    <a:pt x="46" y="0"/>
                  </a:lnTo>
                  <a:lnTo>
                    <a:pt x="46" y="4"/>
                  </a:lnTo>
                  <a:lnTo>
                    <a:pt x="41" y="5"/>
                  </a:lnTo>
                  <a:lnTo>
                    <a:pt x="37" y="16"/>
                  </a:lnTo>
                  <a:lnTo>
                    <a:pt x="32" y="30"/>
                  </a:lnTo>
                  <a:lnTo>
                    <a:pt x="27" y="39"/>
                  </a:lnTo>
                  <a:lnTo>
                    <a:pt x="23" y="39"/>
                  </a:lnTo>
                  <a:lnTo>
                    <a:pt x="19" y="53"/>
                  </a:lnTo>
                  <a:lnTo>
                    <a:pt x="14" y="53"/>
                  </a:lnTo>
                  <a:lnTo>
                    <a:pt x="10" y="65"/>
                  </a:lnTo>
                  <a:lnTo>
                    <a:pt x="1" y="69"/>
                  </a:lnTo>
                  <a:lnTo>
                    <a:pt x="1" y="79"/>
                  </a:lnTo>
                  <a:lnTo>
                    <a:pt x="0" y="87"/>
                  </a:lnTo>
                  <a:lnTo>
                    <a:pt x="0" y="92"/>
                  </a:lnTo>
                  <a:lnTo>
                    <a:pt x="5" y="92"/>
                  </a:lnTo>
                  <a:lnTo>
                    <a:pt x="0" y="98"/>
                  </a:lnTo>
                  <a:lnTo>
                    <a:pt x="5" y="99"/>
                  </a:lnTo>
                  <a:lnTo>
                    <a:pt x="20" y="104"/>
                  </a:lnTo>
                  <a:lnTo>
                    <a:pt x="28" y="108"/>
                  </a:lnTo>
                  <a:lnTo>
                    <a:pt x="33" y="113"/>
                  </a:lnTo>
                  <a:lnTo>
                    <a:pt x="38" y="108"/>
                  </a:lnTo>
                  <a:lnTo>
                    <a:pt x="42" y="99"/>
                  </a:lnTo>
                  <a:lnTo>
                    <a:pt x="61" y="99"/>
                  </a:lnTo>
                  <a:lnTo>
                    <a:pt x="65" y="93"/>
                  </a:lnTo>
                  <a:lnTo>
                    <a:pt x="75" y="99"/>
                  </a:lnTo>
                  <a:lnTo>
                    <a:pt x="84" y="99"/>
                  </a:lnTo>
                  <a:lnTo>
                    <a:pt x="93" y="88"/>
                  </a:lnTo>
                  <a:lnTo>
                    <a:pt x="93" y="83"/>
                  </a:lnTo>
                  <a:lnTo>
                    <a:pt x="89" y="83"/>
                  </a:lnTo>
                  <a:lnTo>
                    <a:pt x="89" y="79"/>
                  </a:lnTo>
                  <a:lnTo>
                    <a:pt x="93" y="74"/>
                  </a:lnTo>
                  <a:cubicBezTo>
                    <a:pt x="93" y="70"/>
                    <a:pt x="93" y="65"/>
                    <a:pt x="93" y="60"/>
                  </a:cubicBezTo>
                  <a:lnTo>
                    <a:pt x="100" y="53"/>
                  </a:lnTo>
                  <a:lnTo>
                    <a:pt x="100" y="49"/>
                  </a:lnTo>
                  <a:lnTo>
                    <a:pt x="95" y="44"/>
                  </a:lnTo>
                  <a:lnTo>
                    <a:pt x="100" y="39"/>
                  </a:lnTo>
                  <a:lnTo>
                    <a:pt x="105" y="39"/>
                  </a:lnTo>
                  <a:lnTo>
                    <a:pt x="105" y="35"/>
                  </a:lnTo>
                  <a:lnTo>
                    <a:pt x="110" y="39"/>
                  </a:lnTo>
                  <a:lnTo>
                    <a:pt x="114" y="39"/>
                  </a:lnTo>
                  <a:lnTo>
                    <a:pt x="114" y="30"/>
                  </a:lnTo>
                  <a:lnTo>
                    <a:pt x="110" y="21"/>
                  </a:lnTo>
                  <a:lnTo>
                    <a:pt x="110" y="16"/>
                  </a:lnTo>
                  <a:lnTo>
                    <a:pt x="114" y="16"/>
                  </a:lnTo>
                  <a:lnTo>
                    <a:pt x="110" y="9"/>
                  </a:lnTo>
                  <a:lnTo>
                    <a:pt x="110" y="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Freeform 121">
              <a:extLst>
                <a:ext uri="{FF2B5EF4-FFF2-40B4-BE49-F238E27FC236}">
                  <a16:creationId xmlns:a16="http://schemas.microsoft.com/office/drawing/2014/main" id="{D93A95C1-579D-9CE1-FBC5-7DF56C150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7411" y="1642335"/>
              <a:ext cx="321037" cy="498912"/>
            </a:xfrm>
            <a:custGeom>
              <a:avLst/>
              <a:gdLst>
                <a:gd name="T0" fmla="*/ 1757521 w 81"/>
                <a:gd name="T1" fmla="*/ 45595293 h 129"/>
                <a:gd name="T2" fmla="*/ 3100526 w 81"/>
                <a:gd name="T3" fmla="*/ 44884776 h 129"/>
                <a:gd name="T4" fmla="*/ 3100526 w 81"/>
                <a:gd name="T5" fmla="*/ 43102915 h 129"/>
                <a:gd name="T6" fmla="*/ 6615543 w 81"/>
                <a:gd name="T7" fmla="*/ 43102915 h 129"/>
                <a:gd name="T8" fmla="*/ 7958547 w 81"/>
                <a:gd name="T9" fmla="*/ 44884776 h 129"/>
                <a:gd name="T10" fmla="*/ 11113786 w 81"/>
                <a:gd name="T11" fmla="*/ 44884776 h 129"/>
                <a:gd name="T12" fmla="*/ 12816570 w 81"/>
                <a:gd name="T13" fmla="*/ 43102915 h 129"/>
                <a:gd name="T14" fmla="*/ 15971831 w 81"/>
                <a:gd name="T15" fmla="*/ 43102915 h 129"/>
                <a:gd name="T16" fmla="*/ 17656921 w 81"/>
                <a:gd name="T17" fmla="*/ 44884776 h 129"/>
                <a:gd name="T18" fmla="*/ 20130848 w 81"/>
                <a:gd name="T19" fmla="*/ 44884776 h 129"/>
                <a:gd name="T20" fmla="*/ 23231377 w 81"/>
                <a:gd name="T21" fmla="*/ 44884776 h 129"/>
                <a:gd name="T22" fmla="*/ 26673968 w 81"/>
                <a:gd name="T23" fmla="*/ 44884776 h 129"/>
                <a:gd name="T24" fmla="*/ 25687738 w 81"/>
                <a:gd name="T25" fmla="*/ 44174260 h 129"/>
                <a:gd name="T26" fmla="*/ 26317173 w 81"/>
                <a:gd name="T27" fmla="*/ 43102915 h 129"/>
                <a:gd name="T28" fmla="*/ 24986011 w 81"/>
                <a:gd name="T29" fmla="*/ 43102915 h 129"/>
                <a:gd name="T30" fmla="*/ 24986011 w 81"/>
                <a:gd name="T31" fmla="*/ 41737228 h 129"/>
                <a:gd name="T32" fmla="*/ 24986011 w 81"/>
                <a:gd name="T33" fmla="*/ 40304907 h 129"/>
                <a:gd name="T34" fmla="*/ 24986011 w 81"/>
                <a:gd name="T35" fmla="*/ 38519392 h 129"/>
                <a:gd name="T36" fmla="*/ 26317173 w 81"/>
                <a:gd name="T37" fmla="*/ 38519392 h 129"/>
                <a:gd name="T38" fmla="*/ 23231377 w 81"/>
                <a:gd name="T39" fmla="*/ 36796391 h 129"/>
                <a:gd name="T40" fmla="*/ 24986011 w 81"/>
                <a:gd name="T41" fmla="*/ 35360525 h 129"/>
                <a:gd name="T42" fmla="*/ 24986011 w 81"/>
                <a:gd name="T43" fmla="*/ 32503665 h 129"/>
                <a:gd name="T44" fmla="*/ 28071708 w 81"/>
                <a:gd name="T45" fmla="*/ 31141493 h 129"/>
                <a:gd name="T46" fmla="*/ 26317173 w 81"/>
                <a:gd name="T47" fmla="*/ 29356610 h 129"/>
                <a:gd name="T48" fmla="*/ 24986011 w 81"/>
                <a:gd name="T49" fmla="*/ 29356610 h 129"/>
                <a:gd name="T50" fmla="*/ 23231377 w 81"/>
                <a:gd name="T51" fmla="*/ 26123950 h 129"/>
                <a:gd name="T52" fmla="*/ 23231377 w 81"/>
                <a:gd name="T53" fmla="*/ 24415132 h 129"/>
                <a:gd name="T54" fmla="*/ 21459148 w 81"/>
                <a:gd name="T55" fmla="*/ 22615415 h 129"/>
                <a:gd name="T56" fmla="*/ 23231377 w 81"/>
                <a:gd name="T57" fmla="*/ 19832225 h 129"/>
                <a:gd name="T58" fmla="*/ 24986011 w 81"/>
                <a:gd name="T59" fmla="*/ 19832225 h 129"/>
                <a:gd name="T60" fmla="*/ 24986011 w 81"/>
                <a:gd name="T61" fmla="*/ 17325024 h 129"/>
                <a:gd name="T62" fmla="*/ 21459148 w 81"/>
                <a:gd name="T63" fmla="*/ 17325024 h 129"/>
                <a:gd name="T64" fmla="*/ 19072208 w 81"/>
                <a:gd name="T65" fmla="*/ 13816499 h 129"/>
                <a:gd name="T66" fmla="*/ 19072208 w 81"/>
                <a:gd name="T67" fmla="*/ 12034588 h 129"/>
                <a:gd name="T68" fmla="*/ 17656921 w 81"/>
                <a:gd name="T69" fmla="*/ 12034588 h 129"/>
                <a:gd name="T70" fmla="*/ 19072208 w 81"/>
                <a:gd name="T71" fmla="*/ 10598761 h 129"/>
                <a:gd name="T72" fmla="*/ 19429120 w 81"/>
                <a:gd name="T73" fmla="*/ 3147664 h 129"/>
                <a:gd name="T74" fmla="*/ 17656921 w 81"/>
                <a:gd name="T75" fmla="*/ 1781886 h 129"/>
                <a:gd name="T76" fmla="*/ 15971831 w 81"/>
                <a:gd name="T77" fmla="*/ 1781886 h 129"/>
                <a:gd name="T78" fmla="*/ 14214311 w 81"/>
                <a:gd name="T79" fmla="*/ 0 h 129"/>
                <a:gd name="T80" fmla="*/ 15971831 w 81"/>
                <a:gd name="T81" fmla="*/ 1781886 h 129"/>
                <a:gd name="T82" fmla="*/ 14571095 w 81"/>
                <a:gd name="T83" fmla="*/ 7090120 h 129"/>
                <a:gd name="T84" fmla="*/ 11113786 w 81"/>
                <a:gd name="T85" fmla="*/ 8798924 h 129"/>
                <a:gd name="T86" fmla="*/ 9716063 w 81"/>
                <a:gd name="T87" fmla="*/ 10598761 h 129"/>
                <a:gd name="T88" fmla="*/ 10058148 w 81"/>
                <a:gd name="T89" fmla="*/ 12034588 h 129"/>
                <a:gd name="T90" fmla="*/ 8300628 w 81"/>
                <a:gd name="T91" fmla="*/ 13816499 h 129"/>
                <a:gd name="T92" fmla="*/ 10058148 w 81"/>
                <a:gd name="T93" fmla="*/ 15178651 h 129"/>
                <a:gd name="T94" fmla="*/ 8300628 w 81"/>
                <a:gd name="T95" fmla="*/ 19832225 h 129"/>
                <a:gd name="T96" fmla="*/ 6615543 w 81"/>
                <a:gd name="T97" fmla="*/ 22979878 h 129"/>
                <a:gd name="T98" fmla="*/ 3100526 w 81"/>
                <a:gd name="T99" fmla="*/ 27923647 h 129"/>
                <a:gd name="T100" fmla="*/ 0 w 81"/>
                <a:gd name="T101" fmla="*/ 35360525 h 129"/>
                <a:gd name="T102" fmla="*/ 0 w 81"/>
                <a:gd name="T103" fmla="*/ 43102915 h 129"/>
                <a:gd name="T104" fmla="*/ 1415435 w 81"/>
                <a:gd name="T105" fmla="*/ 44884776 h 129"/>
                <a:gd name="T106" fmla="*/ 1757521 w 81"/>
                <a:gd name="T107" fmla="*/ 45595293 h 12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1"/>
                <a:gd name="T163" fmla="*/ 0 h 129"/>
                <a:gd name="T164" fmla="*/ 81 w 81"/>
                <a:gd name="T165" fmla="*/ 129 h 12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1" h="129">
                  <a:moveTo>
                    <a:pt x="5" y="129"/>
                  </a:moveTo>
                  <a:lnTo>
                    <a:pt x="9" y="127"/>
                  </a:lnTo>
                  <a:lnTo>
                    <a:pt x="9" y="122"/>
                  </a:lnTo>
                  <a:lnTo>
                    <a:pt x="19" y="122"/>
                  </a:lnTo>
                  <a:lnTo>
                    <a:pt x="23" y="127"/>
                  </a:lnTo>
                  <a:lnTo>
                    <a:pt x="32" y="127"/>
                  </a:lnTo>
                  <a:lnTo>
                    <a:pt x="37" y="122"/>
                  </a:lnTo>
                  <a:lnTo>
                    <a:pt x="46" y="122"/>
                  </a:lnTo>
                  <a:lnTo>
                    <a:pt x="51" y="127"/>
                  </a:lnTo>
                  <a:lnTo>
                    <a:pt x="58" y="127"/>
                  </a:lnTo>
                  <a:lnTo>
                    <a:pt x="67" y="127"/>
                  </a:lnTo>
                  <a:lnTo>
                    <a:pt x="77" y="127"/>
                  </a:lnTo>
                  <a:lnTo>
                    <a:pt x="74" y="125"/>
                  </a:lnTo>
                  <a:lnTo>
                    <a:pt x="76" y="122"/>
                  </a:lnTo>
                  <a:lnTo>
                    <a:pt x="72" y="122"/>
                  </a:lnTo>
                  <a:lnTo>
                    <a:pt x="72" y="118"/>
                  </a:lnTo>
                  <a:lnTo>
                    <a:pt x="72" y="114"/>
                  </a:lnTo>
                  <a:lnTo>
                    <a:pt x="72" y="109"/>
                  </a:lnTo>
                  <a:lnTo>
                    <a:pt x="76" y="109"/>
                  </a:lnTo>
                  <a:lnTo>
                    <a:pt x="67" y="104"/>
                  </a:lnTo>
                  <a:lnTo>
                    <a:pt x="72" y="100"/>
                  </a:lnTo>
                  <a:lnTo>
                    <a:pt x="72" y="92"/>
                  </a:lnTo>
                  <a:lnTo>
                    <a:pt x="81" y="88"/>
                  </a:lnTo>
                  <a:lnTo>
                    <a:pt x="76" y="83"/>
                  </a:lnTo>
                  <a:lnTo>
                    <a:pt x="72" y="83"/>
                  </a:lnTo>
                  <a:lnTo>
                    <a:pt x="67" y="74"/>
                  </a:lnTo>
                  <a:lnTo>
                    <a:pt x="67" y="69"/>
                  </a:lnTo>
                  <a:lnTo>
                    <a:pt x="62" y="64"/>
                  </a:lnTo>
                  <a:lnTo>
                    <a:pt x="67" y="56"/>
                  </a:lnTo>
                  <a:lnTo>
                    <a:pt x="72" y="56"/>
                  </a:lnTo>
                  <a:lnTo>
                    <a:pt x="72" y="49"/>
                  </a:lnTo>
                  <a:lnTo>
                    <a:pt x="62" y="49"/>
                  </a:lnTo>
                  <a:lnTo>
                    <a:pt x="55" y="39"/>
                  </a:lnTo>
                  <a:lnTo>
                    <a:pt x="55" y="34"/>
                  </a:lnTo>
                  <a:lnTo>
                    <a:pt x="51" y="34"/>
                  </a:lnTo>
                  <a:lnTo>
                    <a:pt x="55" y="30"/>
                  </a:lnTo>
                  <a:lnTo>
                    <a:pt x="56" y="9"/>
                  </a:lnTo>
                  <a:lnTo>
                    <a:pt x="51" y="5"/>
                  </a:lnTo>
                  <a:lnTo>
                    <a:pt x="46" y="5"/>
                  </a:lnTo>
                  <a:lnTo>
                    <a:pt x="41" y="0"/>
                  </a:lnTo>
                  <a:lnTo>
                    <a:pt x="46" y="5"/>
                  </a:lnTo>
                  <a:lnTo>
                    <a:pt x="42" y="20"/>
                  </a:lnTo>
                  <a:lnTo>
                    <a:pt x="32" y="25"/>
                  </a:lnTo>
                  <a:lnTo>
                    <a:pt x="28" y="30"/>
                  </a:lnTo>
                  <a:lnTo>
                    <a:pt x="29" y="34"/>
                  </a:lnTo>
                  <a:lnTo>
                    <a:pt x="24" y="39"/>
                  </a:lnTo>
                  <a:lnTo>
                    <a:pt x="29" y="43"/>
                  </a:lnTo>
                  <a:lnTo>
                    <a:pt x="24" y="56"/>
                  </a:lnTo>
                  <a:lnTo>
                    <a:pt x="19" y="65"/>
                  </a:lnTo>
                  <a:lnTo>
                    <a:pt x="9" y="79"/>
                  </a:lnTo>
                  <a:lnTo>
                    <a:pt x="0" y="100"/>
                  </a:lnTo>
                  <a:lnTo>
                    <a:pt x="0" y="122"/>
                  </a:lnTo>
                  <a:lnTo>
                    <a:pt x="4" y="127"/>
                  </a:lnTo>
                  <a:lnTo>
                    <a:pt x="5" y="12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Freeform 122">
              <a:extLst>
                <a:ext uri="{FF2B5EF4-FFF2-40B4-BE49-F238E27FC236}">
                  <a16:creationId xmlns:a16="http://schemas.microsoft.com/office/drawing/2014/main" id="{976CAC95-97A7-97B1-71DB-BF4640CE0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4419" y="2403626"/>
              <a:ext cx="432877" cy="452702"/>
            </a:xfrm>
            <a:custGeom>
              <a:avLst/>
              <a:gdLst>
                <a:gd name="T0" fmla="*/ 24695091 w 109"/>
                <a:gd name="T1" fmla="*/ 33679221 h 117"/>
                <a:gd name="T2" fmla="*/ 27472039 w 109"/>
                <a:gd name="T3" fmla="*/ 30875102 h 117"/>
                <a:gd name="T4" fmla="*/ 30263893 w 109"/>
                <a:gd name="T5" fmla="*/ 29086365 h 117"/>
                <a:gd name="T6" fmla="*/ 32042057 w 109"/>
                <a:gd name="T7" fmla="*/ 25917167 h 117"/>
                <a:gd name="T8" fmla="*/ 33834435 w 109"/>
                <a:gd name="T9" fmla="*/ 24130881 h 117"/>
                <a:gd name="T10" fmla="*/ 33834435 w 109"/>
                <a:gd name="T11" fmla="*/ 21615011 h 117"/>
                <a:gd name="T12" fmla="*/ 38386566 w 109"/>
                <a:gd name="T13" fmla="*/ 17022150 h 117"/>
                <a:gd name="T14" fmla="*/ 38386566 w 109"/>
                <a:gd name="T15" fmla="*/ 13852952 h 117"/>
                <a:gd name="T16" fmla="*/ 36608481 w 109"/>
                <a:gd name="T17" fmla="*/ 12064215 h 117"/>
                <a:gd name="T18" fmla="*/ 33471182 w 109"/>
                <a:gd name="T19" fmla="*/ 10263081 h 117"/>
                <a:gd name="T20" fmla="*/ 28904146 w 109"/>
                <a:gd name="T21" fmla="*/ 8547662 h 117"/>
                <a:gd name="T22" fmla="*/ 27126100 w 109"/>
                <a:gd name="T23" fmla="*/ 8547662 h 117"/>
                <a:gd name="T24" fmla="*/ 28904146 w 109"/>
                <a:gd name="T25" fmla="*/ 6396895 h 117"/>
                <a:gd name="T26" fmla="*/ 27126100 w 109"/>
                <a:gd name="T27" fmla="*/ 6396895 h 117"/>
                <a:gd name="T28" fmla="*/ 27126100 w 109"/>
                <a:gd name="T29" fmla="*/ 4593465 h 117"/>
                <a:gd name="T30" fmla="*/ 23625627 w 109"/>
                <a:gd name="T31" fmla="*/ 2877433 h 117"/>
                <a:gd name="T32" fmla="*/ 23625627 w 109"/>
                <a:gd name="T33" fmla="*/ 1438958 h 117"/>
                <a:gd name="T34" fmla="*/ 22192908 w 109"/>
                <a:gd name="T35" fmla="*/ 1438958 h 117"/>
                <a:gd name="T36" fmla="*/ 20414730 w 109"/>
                <a:gd name="T37" fmla="*/ 1438958 h 117"/>
                <a:gd name="T38" fmla="*/ 18695342 w 109"/>
                <a:gd name="T39" fmla="*/ 1438958 h 117"/>
                <a:gd name="T40" fmla="*/ 17263226 w 109"/>
                <a:gd name="T41" fmla="*/ 2877433 h 117"/>
                <a:gd name="T42" fmla="*/ 9136938 w 109"/>
                <a:gd name="T43" fmla="*/ 0 h 117"/>
                <a:gd name="T44" fmla="*/ 9136938 w 109"/>
                <a:gd name="T45" fmla="*/ 1438958 h 117"/>
                <a:gd name="T46" fmla="*/ 5999150 w 109"/>
                <a:gd name="T47" fmla="*/ 1438958 h 117"/>
                <a:gd name="T48" fmla="*/ 4206770 w 109"/>
                <a:gd name="T49" fmla="*/ 2877433 h 117"/>
                <a:gd name="T50" fmla="*/ 3137305 w 109"/>
                <a:gd name="T51" fmla="*/ 4593465 h 117"/>
                <a:gd name="T52" fmla="*/ 1778179 w 109"/>
                <a:gd name="T53" fmla="*/ 6396895 h 117"/>
                <a:gd name="T54" fmla="*/ 0 w 109"/>
                <a:gd name="T55" fmla="*/ 13852952 h 117"/>
                <a:gd name="T56" fmla="*/ 0 w 109"/>
                <a:gd name="T57" fmla="*/ 17022150 h 117"/>
                <a:gd name="T58" fmla="*/ 0 w 109"/>
                <a:gd name="T59" fmla="*/ 20249820 h 117"/>
                <a:gd name="T60" fmla="*/ 1778179 w 109"/>
                <a:gd name="T61" fmla="*/ 21980089 h 117"/>
                <a:gd name="T62" fmla="*/ 0 w 109"/>
                <a:gd name="T63" fmla="*/ 29086365 h 117"/>
                <a:gd name="T64" fmla="*/ 1778179 w 109"/>
                <a:gd name="T65" fmla="*/ 29086365 h 117"/>
                <a:gd name="T66" fmla="*/ 4206770 w 109"/>
                <a:gd name="T67" fmla="*/ 30875102 h 117"/>
                <a:gd name="T68" fmla="*/ 7416962 w 109"/>
                <a:gd name="T69" fmla="*/ 30875102 h 117"/>
                <a:gd name="T70" fmla="*/ 9136938 w 109"/>
                <a:gd name="T71" fmla="*/ 29086365 h 117"/>
                <a:gd name="T72" fmla="*/ 10918134 w 109"/>
                <a:gd name="T73" fmla="*/ 30875102 h 117"/>
                <a:gd name="T74" fmla="*/ 12347250 w 109"/>
                <a:gd name="T75" fmla="*/ 30875102 h 117"/>
                <a:gd name="T76" fmla="*/ 12347250 w 109"/>
                <a:gd name="T77" fmla="*/ 34391534 h 117"/>
                <a:gd name="T78" fmla="*/ 14055315 w 109"/>
                <a:gd name="T79" fmla="*/ 35833036 h 117"/>
                <a:gd name="T80" fmla="*/ 14055315 w 109"/>
                <a:gd name="T81" fmla="*/ 40076109 h 117"/>
                <a:gd name="T82" fmla="*/ 15485042 w 109"/>
                <a:gd name="T83" fmla="*/ 41500251 h 117"/>
                <a:gd name="T84" fmla="*/ 18695342 w 109"/>
                <a:gd name="T85" fmla="*/ 40076109 h 117"/>
                <a:gd name="T86" fmla="*/ 22556656 w 109"/>
                <a:gd name="T87" fmla="*/ 40076109 h 117"/>
                <a:gd name="T88" fmla="*/ 22556656 w 109"/>
                <a:gd name="T89" fmla="*/ 35833036 h 117"/>
                <a:gd name="T90" fmla="*/ 24695091 w 109"/>
                <a:gd name="T91" fmla="*/ 33679221 h 11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9"/>
                <a:gd name="T139" fmla="*/ 0 h 117"/>
                <a:gd name="T140" fmla="*/ 109 w 109"/>
                <a:gd name="T141" fmla="*/ 117 h 11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9" h="117">
                  <a:moveTo>
                    <a:pt x="70" y="95"/>
                  </a:moveTo>
                  <a:lnTo>
                    <a:pt x="78" y="87"/>
                  </a:lnTo>
                  <a:lnTo>
                    <a:pt x="86" y="82"/>
                  </a:lnTo>
                  <a:lnTo>
                    <a:pt x="91" y="73"/>
                  </a:lnTo>
                  <a:lnTo>
                    <a:pt x="96" y="68"/>
                  </a:lnTo>
                  <a:lnTo>
                    <a:pt x="96" y="61"/>
                  </a:lnTo>
                  <a:lnTo>
                    <a:pt x="109" y="48"/>
                  </a:lnTo>
                  <a:lnTo>
                    <a:pt x="109" y="39"/>
                  </a:lnTo>
                  <a:lnTo>
                    <a:pt x="104" y="34"/>
                  </a:lnTo>
                  <a:lnTo>
                    <a:pt x="95" y="29"/>
                  </a:lnTo>
                  <a:lnTo>
                    <a:pt x="82" y="24"/>
                  </a:lnTo>
                  <a:lnTo>
                    <a:pt x="77" y="24"/>
                  </a:lnTo>
                  <a:lnTo>
                    <a:pt x="82" y="18"/>
                  </a:lnTo>
                  <a:lnTo>
                    <a:pt x="77" y="18"/>
                  </a:lnTo>
                  <a:lnTo>
                    <a:pt x="77" y="13"/>
                  </a:lnTo>
                  <a:lnTo>
                    <a:pt x="67" y="8"/>
                  </a:lnTo>
                  <a:lnTo>
                    <a:pt x="67" y="4"/>
                  </a:lnTo>
                  <a:lnTo>
                    <a:pt x="63" y="4"/>
                  </a:lnTo>
                  <a:lnTo>
                    <a:pt x="58" y="4"/>
                  </a:lnTo>
                  <a:lnTo>
                    <a:pt x="53" y="4"/>
                  </a:lnTo>
                  <a:lnTo>
                    <a:pt x="49" y="8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17" y="4"/>
                  </a:lnTo>
                  <a:lnTo>
                    <a:pt x="12" y="8"/>
                  </a:lnTo>
                  <a:lnTo>
                    <a:pt x="9" y="13"/>
                  </a:lnTo>
                  <a:lnTo>
                    <a:pt x="5" y="18"/>
                  </a:lnTo>
                  <a:lnTo>
                    <a:pt x="0" y="39"/>
                  </a:lnTo>
                  <a:lnTo>
                    <a:pt x="0" y="48"/>
                  </a:lnTo>
                  <a:lnTo>
                    <a:pt x="0" y="57"/>
                  </a:lnTo>
                  <a:lnTo>
                    <a:pt x="5" y="62"/>
                  </a:lnTo>
                  <a:lnTo>
                    <a:pt x="0" y="82"/>
                  </a:lnTo>
                  <a:lnTo>
                    <a:pt x="5" y="82"/>
                  </a:lnTo>
                  <a:lnTo>
                    <a:pt x="12" y="87"/>
                  </a:lnTo>
                  <a:lnTo>
                    <a:pt x="21" y="87"/>
                  </a:lnTo>
                  <a:lnTo>
                    <a:pt x="26" y="82"/>
                  </a:lnTo>
                  <a:lnTo>
                    <a:pt x="31" y="87"/>
                  </a:lnTo>
                  <a:lnTo>
                    <a:pt x="35" y="87"/>
                  </a:lnTo>
                  <a:lnTo>
                    <a:pt x="35" y="97"/>
                  </a:lnTo>
                  <a:lnTo>
                    <a:pt x="40" y="101"/>
                  </a:lnTo>
                  <a:lnTo>
                    <a:pt x="40" y="113"/>
                  </a:lnTo>
                  <a:lnTo>
                    <a:pt x="44" y="117"/>
                  </a:lnTo>
                  <a:lnTo>
                    <a:pt x="53" y="113"/>
                  </a:lnTo>
                  <a:lnTo>
                    <a:pt x="64" y="113"/>
                  </a:lnTo>
                  <a:lnTo>
                    <a:pt x="64" y="101"/>
                  </a:lnTo>
                  <a:lnTo>
                    <a:pt x="70" y="9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123">
              <a:extLst>
                <a:ext uri="{FF2B5EF4-FFF2-40B4-BE49-F238E27FC236}">
                  <a16:creationId xmlns:a16="http://schemas.microsoft.com/office/drawing/2014/main" id="{941182B0-3F6B-E519-C0C6-205C2D53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474" y="1793496"/>
              <a:ext cx="724144" cy="680619"/>
            </a:xfrm>
            <a:custGeom>
              <a:avLst/>
              <a:gdLst>
                <a:gd name="T0" fmla="*/ 0 w 182"/>
                <a:gd name="T1" fmla="*/ 9158667 h 176"/>
                <a:gd name="T2" fmla="*/ 17854328 w 182"/>
                <a:gd name="T3" fmla="*/ 7433253 h 176"/>
                <a:gd name="T4" fmla="*/ 17854328 w 182"/>
                <a:gd name="T5" fmla="*/ 1434699 h 176"/>
                <a:gd name="T6" fmla="*/ 19667491 w 182"/>
                <a:gd name="T7" fmla="*/ 0 h 176"/>
                <a:gd name="T8" fmla="*/ 22854662 w 182"/>
                <a:gd name="T9" fmla="*/ 3142882 h 176"/>
                <a:gd name="T10" fmla="*/ 22854662 w 182"/>
                <a:gd name="T11" fmla="*/ 7433253 h 176"/>
                <a:gd name="T12" fmla="*/ 24652802 w 182"/>
                <a:gd name="T13" fmla="*/ 8794887 h 176"/>
                <a:gd name="T14" fmla="*/ 25385856 w 182"/>
                <a:gd name="T15" fmla="*/ 10590336 h 176"/>
                <a:gd name="T16" fmla="*/ 27183996 w 182"/>
                <a:gd name="T17" fmla="*/ 12374610 h 176"/>
                <a:gd name="T18" fmla="*/ 65084438 w 182"/>
                <a:gd name="T19" fmla="*/ 13806899 h 176"/>
                <a:gd name="T20" fmla="*/ 61825410 w 182"/>
                <a:gd name="T21" fmla="*/ 21530248 h 176"/>
                <a:gd name="T22" fmla="*/ 61825410 w 182"/>
                <a:gd name="T23" fmla="*/ 29324266 h 176"/>
                <a:gd name="T24" fmla="*/ 63271304 w 182"/>
                <a:gd name="T25" fmla="*/ 31123333 h 176"/>
                <a:gd name="T26" fmla="*/ 61825410 w 182"/>
                <a:gd name="T27" fmla="*/ 35340134 h 176"/>
                <a:gd name="T28" fmla="*/ 60450567 w 182"/>
                <a:gd name="T29" fmla="*/ 40278956 h 176"/>
                <a:gd name="T30" fmla="*/ 58637591 w 182"/>
                <a:gd name="T31" fmla="*/ 43424725 h 176"/>
                <a:gd name="T32" fmla="*/ 56837117 w 182"/>
                <a:gd name="T33" fmla="*/ 43424725 h 176"/>
                <a:gd name="T34" fmla="*/ 55098120 w 182"/>
                <a:gd name="T35" fmla="*/ 48363645 h 176"/>
                <a:gd name="T36" fmla="*/ 53649219 w 182"/>
                <a:gd name="T37" fmla="*/ 48363645 h 176"/>
                <a:gd name="T38" fmla="*/ 52203325 w 182"/>
                <a:gd name="T39" fmla="*/ 52289786 h 176"/>
                <a:gd name="T40" fmla="*/ 48664012 w 182"/>
                <a:gd name="T41" fmla="*/ 54015777 h 176"/>
                <a:gd name="T42" fmla="*/ 48664012 w 182"/>
                <a:gd name="T43" fmla="*/ 57231629 h 176"/>
                <a:gd name="T44" fmla="*/ 48664012 w 182"/>
                <a:gd name="T45" fmla="*/ 60377526 h 176"/>
                <a:gd name="T46" fmla="*/ 45053332 w 182"/>
                <a:gd name="T47" fmla="*/ 58667058 h 176"/>
                <a:gd name="T48" fmla="*/ 45053332 w 182"/>
                <a:gd name="T49" fmla="*/ 57231629 h 176"/>
                <a:gd name="T50" fmla="*/ 40065089 w 182"/>
                <a:gd name="T51" fmla="*/ 57231629 h 176"/>
                <a:gd name="T52" fmla="*/ 38618601 w 182"/>
                <a:gd name="T53" fmla="*/ 59012881 h 176"/>
                <a:gd name="T54" fmla="*/ 30371815 w 182"/>
                <a:gd name="T55" fmla="*/ 55796910 h 176"/>
                <a:gd name="T56" fmla="*/ 30371815 w 182"/>
                <a:gd name="T57" fmla="*/ 57231629 h 176"/>
                <a:gd name="T58" fmla="*/ 27183996 w 182"/>
                <a:gd name="T59" fmla="*/ 57595384 h 176"/>
                <a:gd name="T60" fmla="*/ 25385856 w 182"/>
                <a:gd name="T61" fmla="*/ 59012881 h 176"/>
                <a:gd name="T62" fmla="*/ 24652802 w 182"/>
                <a:gd name="T63" fmla="*/ 60377526 h 176"/>
                <a:gd name="T64" fmla="*/ 22854662 w 182"/>
                <a:gd name="T65" fmla="*/ 62173551 h 176"/>
                <a:gd name="T66" fmla="*/ 21479877 w 182"/>
                <a:gd name="T67" fmla="*/ 59012881 h 176"/>
                <a:gd name="T68" fmla="*/ 17854328 w 182"/>
                <a:gd name="T69" fmla="*/ 55796910 h 176"/>
                <a:gd name="T70" fmla="*/ 19667491 w 182"/>
                <a:gd name="T71" fmla="*/ 54015777 h 176"/>
                <a:gd name="T72" fmla="*/ 19667491 w 182"/>
                <a:gd name="T73" fmla="*/ 52289786 h 176"/>
                <a:gd name="T74" fmla="*/ 8247283 w 182"/>
                <a:gd name="T75" fmla="*/ 52289786 h 176"/>
                <a:gd name="T76" fmla="*/ 8247283 w 182"/>
                <a:gd name="T77" fmla="*/ 46641248 h 176"/>
                <a:gd name="T78" fmla="*/ 6434249 w 182"/>
                <a:gd name="T79" fmla="*/ 44857152 h 176"/>
                <a:gd name="T80" fmla="*/ 6434249 w 182"/>
                <a:gd name="T81" fmla="*/ 43424725 h 176"/>
                <a:gd name="T82" fmla="*/ 8247283 w 182"/>
                <a:gd name="T83" fmla="*/ 41714257 h 176"/>
                <a:gd name="T84" fmla="*/ 6434249 w 182"/>
                <a:gd name="T85" fmla="*/ 40278956 h 176"/>
                <a:gd name="T86" fmla="*/ 6434249 w 182"/>
                <a:gd name="T87" fmla="*/ 38482911 h 176"/>
                <a:gd name="T88" fmla="*/ 4621722 w 182"/>
                <a:gd name="T89" fmla="*/ 37063025 h 176"/>
                <a:gd name="T90" fmla="*/ 6798363 w 182"/>
                <a:gd name="T91" fmla="*/ 35340134 h 176"/>
                <a:gd name="T92" fmla="*/ 8247283 w 182"/>
                <a:gd name="T93" fmla="*/ 31123333 h 176"/>
                <a:gd name="T94" fmla="*/ 9974318 w 182"/>
                <a:gd name="T95" fmla="*/ 29324266 h 176"/>
                <a:gd name="T96" fmla="*/ 9974318 w 182"/>
                <a:gd name="T97" fmla="*/ 27907382 h 176"/>
                <a:gd name="T98" fmla="*/ 8247283 w 182"/>
                <a:gd name="T99" fmla="*/ 24400257 h 176"/>
                <a:gd name="T100" fmla="*/ 8247283 w 182"/>
                <a:gd name="T101" fmla="*/ 21530248 h 176"/>
                <a:gd name="T102" fmla="*/ 3261323 w 182"/>
                <a:gd name="T103" fmla="*/ 21530248 h 176"/>
                <a:gd name="T104" fmla="*/ 0 w 182"/>
                <a:gd name="T105" fmla="*/ 17313412 h 176"/>
                <a:gd name="T106" fmla="*/ 0 w 182"/>
                <a:gd name="T107" fmla="*/ 9158667 h 17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2"/>
                <a:gd name="T163" fmla="*/ 0 h 176"/>
                <a:gd name="T164" fmla="*/ 182 w 182"/>
                <a:gd name="T165" fmla="*/ 176 h 17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2" h="176">
                  <a:moveTo>
                    <a:pt x="0" y="26"/>
                  </a:moveTo>
                  <a:lnTo>
                    <a:pt x="50" y="21"/>
                  </a:lnTo>
                  <a:cubicBezTo>
                    <a:pt x="50" y="16"/>
                    <a:pt x="50" y="9"/>
                    <a:pt x="50" y="4"/>
                  </a:cubicBezTo>
                  <a:lnTo>
                    <a:pt x="55" y="0"/>
                  </a:lnTo>
                  <a:lnTo>
                    <a:pt x="64" y="9"/>
                  </a:lnTo>
                  <a:lnTo>
                    <a:pt x="64" y="21"/>
                  </a:lnTo>
                  <a:lnTo>
                    <a:pt x="69" y="25"/>
                  </a:lnTo>
                  <a:lnTo>
                    <a:pt x="71" y="30"/>
                  </a:lnTo>
                  <a:lnTo>
                    <a:pt x="76" y="35"/>
                  </a:lnTo>
                  <a:lnTo>
                    <a:pt x="182" y="39"/>
                  </a:lnTo>
                  <a:lnTo>
                    <a:pt x="173" y="61"/>
                  </a:lnTo>
                  <a:lnTo>
                    <a:pt x="173" y="83"/>
                  </a:lnTo>
                  <a:lnTo>
                    <a:pt x="177" y="88"/>
                  </a:lnTo>
                  <a:lnTo>
                    <a:pt x="173" y="100"/>
                  </a:lnTo>
                  <a:lnTo>
                    <a:pt x="169" y="114"/>
                  </a:lnTo>
                  <a:lnTo>
                    <a:pt x="164" y="123"/>
                  </a:lnTo>
                  <a:lnTo>
                    <a:pt x="159" y="123"/>
                  </a:lnTo>
                  <a:lnTo>
                    <a:pt x="154" y="137"/>
                  </a:lnTo>
                  <a:lnTo>
                    <a:pt x="150" y="137"/>
                  </a:lnTo>
                  <a:lnTo>
                    <a:pt x="146" y="148"/>
                  </a:lnTo>
                  <a:lnTo>
                    <a:pt x="136" y="153"/>
                  </a:lnTo>
                  <a:lnTo>
                    <a:pt x="136" y="162"/>
                  </a:lnTo>
                  <a:lnTo>
                    <a:pt x="136" y="171"/>
                  </a:lnTo>
                  <a:lnTo>
                    <a:pt x="126" y="166"/>
                  </a:lnTo>
                  <a:lnTo>
                    <a:pt x="126" y="162"/>
                  </a:lnTo>
                  <a:cubicBezTo>
                    <a:pt x="122" y="162"/>
                    <a:pt x="117" y="162"/>
                    <a:pt x="112" y="162"/>
                  </a:cubicBezTo>
                  <a:lnTo>
                    <a:pt x="108" y="167"/>
                  </a:lnTo>
                  <a:lnTo>
                    <a:pt x="85" y="158"/>
                  </a:lnTo>
                  <a:lnTo>
                    <a:pt x="85" y="162"/>
                  </a:lnTo>
                  <a:lnTo>
                    <a:pt x="76" y="163"/>
                  </a:lnTo>
                  <a:lnTo>
                    <a:pt x="71" y="167"/>
                  </a:lnTo>
                  <a:lnTo>
                    <a:pt x="69" y="171"/>
                  </a:lnTo>
                  <a:lnTo>
                    <a:pt x="64" y="176"/>
                  </a:lnTo>
                  <a:lnTo>
                    <a:pt x="60" y="167"/>
                  </a:lnTo>
                  <a:lnTo>
                    <a:pt x="50" y="158"/>
                  </a:lnTo>
                  <a:lnTo>
                    <a:pt x="55" y="153"/>
                  </a:lnTo>
                  <a:lnTo>
                    <a:pt x="55" y="148"/>
                  </a:lnTo>
                  <a:lnTo>
                    <a:pt x="23" y="14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8" y="123"/>
                  </a:lnTo>
                  <a:lnTo>
                    <a:pt x="23" y="118"/>
                  </a:lnTo>
                  <a:lnTo>
                    <a:pt x="18" y="114"/>
                  </a:lnTo>
                  <a:lnTo>
                    <a:pt x="18" y="109"/>
                  </a:lnTo>
                  <a:lnTo>
                    <a:pt x="13" y="105"/>
                  </a:lnTo>
                  <a:lnTo>
                    <a:pt x="19" y="100"/>
                  </a:lnTo>
                  <a:lnTo>
                    <a:pt x="23" y="88"/>
                  </a:lnTo>
                  <a:lnTo>
                    <a:pt x="28" y="83"/>
                  </a:lnTo>
                  <a:lnTo>
                    <a:pt x="28" y="79"/>
                  </a:lnTo>
                  <a:lnTo>
                    <a:pt x="23" y="69"/>
                  </a:lnTo>
                  <a:lnTo>
                    <a:pt x="23" y="61"/>
                  </a:lnTo>
                  <a:lnTo>
                    <a:pt x="9" y="61"/>
                  </a:lnTo>
                  <a:lnTo>
                    <a:pt x="0" y="49"/>
                  </a:lnTo>
                  <a:lnTo>
                    <a:pt x="0" y="2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Freeform 124">
              <a:extLst>
                <a:ext uri="{FF2B5EF4-FFF2-40B4-BE49-F238E27FC236}">
                  <a16:creationId xmlns:a16="http://schemas.microsoft.com/office/drawing/2014/main" id="{EFCCBF6E-CB75-CD4E-839B-BD4B5A26D7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4192" y="2571235"/>
              <a:ext cx="539890" cy="339918"/>
            </a:xfrm>
            <a:custGeom>
              <a:avLst/>
              <a:gdLst>
                <a:gd name="T0" fmla="*/ 33019313 w 136"/>
                <a:gd name="T1" fmla="*/ 25900233 h 88"/>
                <a:gd name="T2" fmla="*/ 27405986 w 136"/>
                <a:gd name="T3" fmla="*/ 30792773 h 88"/>
                <a:gd name="T4" fmla="*/ 25616450 w 136"/>
                <a:gd name="T5" fmla="*/ 29022093 h 88"/>
                <a:gd name="T6" fmla="*/ 24189628 w 136"/>
                <a:gd name="T7" fmla="*/ 30792773 h 88"/>
                <a:gd name="T8" fmla="*/ 24189628 w 136"/>
                <a:gd name="T9" fmla="*/ 29022093 h 88"/>
                <a:gd name="T10" fmla="*/ 21058467 w 136"/>
                <a:gd name="T11" fmla="*/ 27326653 h 88"/>
                <a:gd name="T12" fmla="*/ 19286717 w 136"/>
                <a:gd name="T13" fmla="*/ 27326653 h 88"/>
                <a:gd name="T14" fmla="*/ 21058467 w 136"/>
                <a:gd name="T15" fmla="*/ 25900233 h 88"/>
                <a:gd name="T16" fmla="*/ 19646432 w 136"/>
                <a:gd name="T17" fmla="*/ 24476260 h 88"/>
                <a:gd name="T18" fmla="*/ 17582467 w 136"/>
                <a:gd name="T19" fmla="*/ 20304303 h 88"/>
                <a:gd name="T20" fmla="*/ 16155655 w 136"/>
                <a:gd name="T21" fmla="*/ 18518275 h 88"/>
                <a:gd name="T22" fmla="*/ 13024464 w 136"/>
                <a:gd name="T23" fmla="*/ 18518275 h 88"/>
                <a:gd name="T24" fmla="*/ 9463797 w 136"/>
                <a:gd name="T25" fmla="*/ 17167589 h 88"/>
                <a:gd name="T26" fmla="*/ 4558008 w 136"/>
                <a:gd name="T27" fmla="*/ 17167589 h 88"/>
                <a:gd name="T28" fmla="*/ 1774745 w 136"/>
                <a:gd name="T29" fmla="*/ 15396446 h 88"/>
                <a:gd name="T30" fmla="*/ 0 w 136"/>
                <a:gd name="T31" fmla="*/ 15396446 h 88"/>
                <a:gd name="T32" fmla="*/ 2768487 w 136"/>
                <a:gd name="T33" fmla="*/ 13625766 h 88"/>
                <a:gd name="T34" fmla="*/ 4558008 w 136"/>
                <a:gd name="T35" fmla="*/ 10503817 h 88"/>
                <a:gd name="T36" fmla="*/ 6332755 w 136"/>
                <a:gd name="T37" fmla="*/ 8735547 h 88"/>
                <a:gd name="T38" fmla="*/ 6332755 w 136"/>
                <a:gd name="T39" fmla="*/ 6316515 h 88"/>
                <a:gd name="T40" fmla="*/ 10890123 w 136"/>
                <a:gd name="T41" fmla="*/ 1771263 h 88"/>
                <a:gd name="T42" fmla="*/ 14380910 w 136"/>
                <a:gd name="T43" fmla="*/ 0 h 88"/>
                <a:gd name="T44" fmla="*/ 16155655 w 136"/>
                <a:gd name="T45" fmla="*/ 1771263 h 88"/>
                <a:gd name="T46" fmla="*/ 19286717 w 136"/>
                <a:gd name="T47" fmla="*/ 1771263 h 88"/>
                <a:gd name="T48" fmla="*/ 21058467 w 136"/>
                <a:gd name="T49" fmla="*/ 1771263 h 88"/>
                <a:gd name="T50" fmla="*/ 22847984 w 136"/>
                <a:gd name="T51" fmla="*/ 3121861 h 88"/>
                <a:gd name="T52" fmla="*/ 24189628 w 136"/>
                <a:gd name="T53" fmla="*/ 1771263 h 88"/>
                <a:gd name="T54" fmla="*/ 27405986 w 136"/>
                <a:gd name="T55" fmla="*/ 1771263 h 88"/>
                <a:gd name="T56" fmla="*/ 29180109 w 136"/>
                <a:gd name="T57" fmla="*/ 1771263 h 88"/>
                <a:gd name="T58" fmla="*/ 30881982 w 136"/>
                <a:gd name="T59" fmla="*/ 1771263 h 88"/>
                <a:gd name="T60" fmla="*/ 32311783 w 136"/>
                <a:gd name="T61" fmla="*/ 3121861 h 88"/>
                <a:gd name="T62" fmla="*/ 32311783 w 136"/>
                <a:gd name="T63" fmla="*/ 9438350 h 88"/>
                <a:gd name="T64" fmla="*/ 33019313 w 136"/>
                <a:gd name="T65" fmla="*/ 10865349 h 88"/>
                <a:gd name="T66" fmla="*/ 34445641 w 136"/>
                <a:gd name="T67" fmla="*/ 10865349 h 88"/>
                <a:gd name="T68" fmla="*/ 33019313 w 136"/>
                <a:gd name="T69" fmla="*/ 13987209 h 88"/>
                <a:gd name="T70" fmla="*/ 36147494 w 136"/>
                <a:gd name="T71" fmla="*/ 17167589 h 88"/>
                <a:gd name="T72" fmla="*/ 36147494 w 136"/>
                <a:gd name="T73" fmla="*/ 18880330 h 88"/>
                <a:gd name="T74" fmla="*/ 37936419 w 136"/>
                <a:gd name="T75" fmla="*/ 18880330 h 88"/>
                <a:gd name="T76" fmla="*/ 39711154 w 136"/>
                <a:gd name="T77" fmla="*/ 17167589 h 88"/>
                <a:gd name="T78" fmla="*/ 42839325 w 136"/>
                <a:gd name="T79" fmla="*/ 17167589 h 88"/>
                <a:gd name="T80" fmla="*/ 44628841 w 136"/>
                <a:gd name="T81" fmla="*/ 15396446 h 88"/>
                <a:gd name="T82" fmla="*/ 44628841 w 136"/>
                <a:gd name="T83" fmla="*/ 17167589 h 88"/>
                <a:gd name="T84" fmla="*/ 47759923 w 136"/>
                <a:gd name="T85" fmla="*/ 17167589 h 88"/>
                <a:gd name="T86" fmla="*/ 45970406 w 136"/>
                <a:gd name="T87" fmla="*/ 18518275 h 88"/>
                <a:gd name="T88" fmla="*/ 44628841 w 136"/>
                <a:gd name="T89" fmla="*/ 18518275 h 88"/>
                <a:gd name="T90" fmla="*/ 39711154 w 136"/>
                <a:gd name="T91" fmla="*/ 24476260 h 88"/>
                <a:gd name="T92" fmla="*/ 38281352 w 136"/>
                <a:gd name="T93" fmla="*/ 24476260 h 88"/>
                <a:gd name="T94" fmla="*/ 33019313 w 136"/>
                <a:gd name="T95" fmla="*/ 25900233 h 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6"/>
                <a:gd name="T145" fmla="*/ 0 h 88"/>
                <a:gd name="T146" fmla="*/ 136 w 136"/>
                <a:gd name="T147" fmla="*/ 88 h 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6" h="88">
                  <a:moveTo>
                    <a:pt x="94" y="74"/>
                  </a:moveTo>
                  <a:lnTo>
                    <a:pt x="78" y="88"/>
                  </a:lnTo>
                  <a:lnTo>
                    <a:pt x="73" y="83"/>
                  </a:lnTo>
                  <a:lnTo>
                    <a:pt x="69" y="88"/>
                  </a:lnTo>
                  <a:lnTo>
                    <a:pt x="69" y="83"/>
                  </a:lnTo>
                  <a:lnTo>
                    <a:pt x="60" y="78"/>
                  </a:lnTo>
                  <a:lnTo>
                    <a:pt x="55" y="78"/>
                  </a:lnTo>
                  <a:lnTo>
                    <a:pt x="60" y="74"/>
                  </a:lnTo>
                  <a:lnTo>
                    <a:pt x="56" y="70"/>
                  </a:lnTo>
                  <a:lnTo>
                    <a:pt x="50" y="58"/>
                  </a:lnTo>
                  <a:lnTo>
                    <a:pt x="46" y="53"/>
                  </a:lnTo>
                  <a:lnTo>
                    <a:pt x="37" y="53"/>
                  </a:lnTo>
                  <a:lnTo>
                    <a:pt x="27" y="49"/>
                  </a:lnTo>
                  <a:lnTo>
                    <a:pt x="13" y="49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8" y="39"/>
                  </a:lnTo>
                  <a:lnTo>
                    <a:pt x="13" y="30"/>
                  </a:lnTo>
                  <a:lnTo>
                    <a:pt x="18" y="25"/>
                  </a:lnTo>
                  <a:lnTo>
                    <a:pt x="18" y="18"/>
                  </a:lnTo>
                  <a:lnTo>
                    <a:pt x="31" y="5"/>
                  </a:lnTo>
                  <a:lnTo>
                    <a:pt x="41" y="0"/>
                  </a:lnTo>
                  <a:lnTo>
                    <a:pt x="46" y="5"/>
                  </a:lnTo>
                  <a:lnTo>
                    <a:pt x="55" y="5"/>
                  </a:lnTo>
                  <a:lnTo>
                    <a:pt x="60" y="5"/>
                  </a:lnTo>
                  <a:lnTo>
                    <a:pt x="65" y="9"/>
                  </a:lnTo>
                  <a:lnTo>
                    <a:pt x="69" y="5"/>
                  </a:lnTo>
                  <a:lnTo>
                    <a:pt x="78" y="5"/>
                  </a:lnTo>
                  <a:lnTo>
                    <a:pt x="83" y="5"/>
                  </a:lnTo>
                  <a:lnTo>
                    <a:pt x="88" y="5"/>
                  </a:lnTo>
                  <a:lnTo>
                    <a:pt x="92" y="9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8" y="31"/>
                  </a:lnTo>
                  <a:lnTo>
                    <a:pt x="94" y="40"/>
                  </a:lnTo>
                  <a:lnTo>
                    <a:pt x="103" y="49"/>
                  </a:lnTo>
                  <a:lnTo>
                    <a:pt x="103" y="54"/>
                  </a:lnTo>
                  <a:lnTo>
                    <a:pt x="108" y="54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7" y="44"/>
                  </a:lnTo>
                  <a:lnTo>
                    <a:pt x="127" y="49"/>
                  </a:lnTo>
                  <a:lnTo>
                    <a:pt x="136" y="49"/>
                  </a:lnTo>
                  <a:lnTo>
                    <a:pt x="131" y="53"/>
                  </a:lnTo>
                  <a:lnTo>
                    <a:pt x="127" y="53"/>
                  </a:lnTo>
                  <a:lnTo>
                    <a:pt x="113" y="70"/>
                  </a:lnTo>
                  <a:lnTo>
                    <a:pt x="109" y="70"/>
                  </a:lnTo>
                  <a:lnTo>
                    <a:pt x="94" y="74"/>
                  </a:lnTo>
                </a:path>
              </a:pathLst>
            </a:custGeom>
            <a:solidFill>
              <a:srgbClr val="FF990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Freeform 125">
              <a:extLst>
                <a:ext uri="{FF2B5EF4-FFF2-40B4-BE49-F238E27FC236}">
                  <a16:creationId xmlns:a16="http://schemas.microsoft.com/office/drawing/2014/main" id="{C5E3EF21-9DE5-8CE4-60F9-DE93EF1BA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541" y="2651907"/>
              <a:ext cx="259887" cy="151162"/>
            </a:xfrm>
            <a:custGeom>
              <a:avLst/>
              <a:gdLst>
                <a:gd name="T0" fmla="*/ 7032912 w 65"/>
                <a:gd name="T1" fmla="*/ 6829349 h 39"/>
                <a:gd name="T2" fmla="*/ 2242097 w 65"/>
                <a:gd name="T3" fmla="*/ 8283802 h 39"/>
                <a:gd name="T4" fmla="*/ 2242097 w 65"/>
                <a:gd name="T5" fmla="*/ 10105815 h 39"/>
                <a:gd name="T6" fmla="*/ 5617740 w 65"/>
                <a:gd name="T7" fmla="*/ 10105815 h 39"/>
                <a:gd name="T8" fmla="*/ 4111650 w 65"/>
                <a:gd name="T9" fmla="*/ 11486450 h 39"/>
                <a:gd name="T10" fmla="*/ 2242097 w 65"/>
                <a:gd name="T11" fmla="*/ 11486450 h 39"/>
                <a:gd name="T12" fmla="*/ 0 w 65"/>
                <a:gd name="T13" fmla="*/ 14027002 h 39"/>
                <a:gd name="T14" fmla="*/ 1866488 w 65"/>
                <a:gd name="T15" fmla="*/ 14027002 h 39"/>
                <a:gd name="T16" fmla="*/ 3372582 w 65"/>
                <a:gd name="T17" fmla="*/ 12572574 h 39"/>
                <a:gd name="T18" fmla="*/ 5239070 w 65"/>
                <a:gd name="T19" fmla="*/ 14027002 h 39"/>
                <a:gd name="T20" fmla="*/ 6653645 w 65"/>
                <a:gd name="T21" fmla="*/ 12204271 h 39"/>
                <a:gd name="T22" fmla="*/ 8523193 w 65"/>
                <a:gd name="T23" fmla="*/ 14027002 h 39"/>
                <a:gd name="T24" fmla="*/ 8523193 w 65"/>
                <a:gd name="T25" fmla="*/ 12204271 h 39"/>
                <a:gd name="T26" fmla="*/ 10404896 w 65"/>
                <a:gd name="T27" fmla="*/ 12204271 h 39"/>
                <a:gd name="T28" fmla="*/ 10404896 w 65"/>
                <a:gd name="T29" fmla="*/ 14027002 h 39"/>
                <a:gd name="T30" fmla="*/ 11895771 w 65"/>
                <a:gd name="T31" fmla="*/ 14027002 h 39"/>
                <a:gd name="T32" fmla="*/ 17134720 w 65"/>
                <a:gd name="T33" fmla="*/ 12204271 h 39"/>
                <a:gd name="T34" fmla="*/ 17134720 w 65"/>
                <a:gd name="T35" fmla="*/ 10749942 h 39"/>
                <a:gd name="T36" fmla="*/ 22298210 w 65"/>
                <a:gd name="T37" fmla="*/ 9019671 h 39"/>
                <a:gd name="T38" fmla="*/ 22298210 w 65"/>
                <a:gd name="T39" fmla="*/ 7197653 h 39"/>
                <a:gd name="T40" fmla="*/ 24167654 w 65"/>
                <a:gd name="T41" fmla="*/ 3555921 h 39"/>
                <a:gd name="T42" fmla="*/ 18925620 w 65"/>
                <a:gd name="T43" fmla="*/ 2172269 h 39"/>
                <a:gd name="T44" fmla="*/ 18925620 w 65"/>
                <a:gd name="T45" fmla="*/ 0 h 39"/>
                <a:gd name="T46" fmla="*/ 17134720 w 65"/>
                <a:gd name="T47" fmla="*/ 2172269 h 39"/>
                <a:gd name="T48" fmla="*/ 15643961 w 65"/>
                <a:gd name="T49" fmla="*/ 5009755 h 39"/>
                <a:gd name="T50" fmla="*/ 10781124 w 65"/>
                <a:gd name="T51" fmla="*/ 6829349 h 39"/>
                <a:gd name="T52" fmla="*/ 7032912 w 65"/>
                <a:gd name="T53" fmla="*/ 6829349 h 3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39"/>
                <a:gd name="T83" fmla="*/ 65 w 65"/>
                <a:gd name="T84" fmla="*/ 39 h 3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39">
                  <a:moveTo>
                    <a:pt x="19" y="19"/>
                  </a:moveTo>
                  <a:lnTo>
                    <a:pt x="6" y="23"/>
                  </a:lnTo>
                  <a:lnTo>
                    <a:pt x="6" y="28"/>
                  </a:lnTo>
                  <a:lnTo>
                    <a:pt x="15" y="28"/>
                  </a:lnTo>
                  <a:lnTo>
                    <a:pt x="11" y="32"/>
                  </a:lnTo>
                  <a:lnTo>
                    <a:pt x="6" y="32"/>
                  </a:lnTo>
                  <a:lnTo>
                    <a:pt x="0" y="39"/>
                  </a:lnTo>
                  <a:lnTo>
                    <a:pt x="5" y="39"/>
                  </a:lnTo>
                  <a:lnTo>
                    <a:pt x="9" y="35"/>
                  </a:lnTo>
                  <a:lnTo>
                    <a:pt x="14" y="39"/>
                  </a:lnTo>
                  <a:lnTo>
                    <a:pt x="18" y="34"/>
                  </a:lnTo>
                  <a:lnTo>
                    <a:pt x="23" y="39"/>
                  </a:lnTo>
                  <a:lnTo>
                    <a:pt x="23" y="34"/>
                  </a:lnTo>
                  <a:lnTo>
                    <a:pt x="28" y="34"/>
                  </a:lnTo>
                  <a:lnTo>
                    <a:pt x="28" y="39"/>
                  </a:lnTo>
                  <a:lnTo>
                    <a:pt x="32" y="39"/>
                  </a:lnTo>
                  <a:lnTo>
                    <a:pt x="46" y="34"/>
                  </a:lnTo>
                  <a:lnTo>
                    <a:pt x="46" y="30"/>
                  </a:lnTo>
                  <a:lnTo>
                    <a:pt x="60" y="25"/>
                  </a:lnTo>
                  <a:lnTo>
                    <a:pt x="60" y="20"/>
                  </a:lnTo>
                  <a:lnTo>
                    <a:pt x="65" y="10"/>
                  </a:lnTo>
                  <a:lnTo>
                    <a:pt x="51" y="6"/>
                  </a:lnTo>
                  <a:lnTo>
                    <a:pt x="51" y="0"/>
                  </a:lnTo>
                  <a:lnTo>
                    <a:pt x="46" y="6"/>
                  </a:lnTo>
                  <a:lnTo>
                    <a:pt x="42" y="14"/>
                  </a:lnTo>
                  <a:lnTo>
                    <a:pt x="29" y="19"/>
                  </a:lnTo>
                  <a:lnTo>
                    <a:pt x="19" y="19"/>
                  </a:lnTo>
                </a:path>
              </a:pathLst>
            </a:custGeom>
            <a:solidFill>
              <a:srgbClr val="FF990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Freeform 126">
              <a:extLst>
                <a:ext uri="{FF2B5EF4-FFF2-40B4-BE49-F238E27FC236}">
                  <a16:creationId xmlns:a16="http://schemas.microsoft.com/office/drawing/2014/main" id="{31490BC6-E5DA-626B-7E3A-C929E005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7301" y="2474116"/>
              <a:ext cx="152070" cy="216169"/>
            </a:xfrm>
            <a:custGeom>
              <a:avLst/>
              <a:gdLst>
                <a:gd name="T0" fmla="*/ 14228954 w 38"/>
                <a:gd name="T1" fmla="*/ 2119981 h 56"/>
                <a:gd name="T2" fmla="*/ 10838176 w 38"/>
                <a:gd name="T3" fmla="*/ 0 h 56"/>
                <a:gd name="T4" fmla="*/ 5268181 w 38"/>
                <a:gd name="T5" fmla="*/ 357607 h 56"/>
                <a:gd name="T6" fmla="*/ 5268181 w 38"/>
                <a:gd name="T7" fmla="*/ 9401787 h 56"/>
                <a:gd name="T8" fmla="*/ 3767750 w 38"/>
                <a:gd name="T9" fmla="*/ 12225717 h 56"/>
                <a:gd name="T10" fmla="*/ 2255023 w 38"/>
                <a:gd name="T11" fmla="*/ 12225717 h 56"/>
                <a:gd name="T12" fmla="*/ 377592 w 38"/>
                <a:gd name="T13" fmla="*/ 13917932 h 56"/>
                <a:gd name="T14" fmla="*/ 0 w 38"/>
                <a:gd name="T15" fmla="*/ 16038035 h 56"/>
                <a:gd name="T16" fmla="*/ 0 w 38"/>
                <a:gd name="T17" fmla="*/ 18431211 h 56"/>
                <a:gd name="T18" fmla="*/ 5268181 w 38"/>
                <a:gd name="T19" fmla="*/ 19492647 h 56"/>
                <a:gd name="T20" fmla="*/ 9340692 w 38"/>
                <a:gd name="T21" fmla="*/ 15680428 h 56"/>
                <a:gd name="T22" fmla="*/ 9340692 w 38"/>
                <a:gd name="T23" fmla="*/ 13917932 h 56"/>
                <a:gd name="T24" fmla="*/ 12731468 w 38"/>
                <a:gd name="T25" fmla="*/ 10806664 h 56"/>
                <a:gd name="T26" fmla="*/ 12731468 w 38"/>
                <a:gd name="T27" fmla="*/ 7625156 h 56"/>
                <a:gd name="T28" fmla="*/ 14228954 w 38"/>
                <a:gd name="T29" fmla="*/ 2119981 h 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56"/>
                <a:gd name="T47" fmla="*/ 38 w 38"/>
                <a:gd name="T48" fmla="*/ 56 h 5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56">
                  <a:moveTo>
                    <a:pt x="38" y="6"/>
                  </a:moveTo>
                  <a:lnTo>
                    <a:pt x="29" y="0"/>
                  </a:lnTo>
                  <a:lnTo>
                    <a:pt x="14" y="1"/>
                  </a:lnTo>
                  <a:lnTo>
                    <a:pt x="14" y="27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1" y="40"/>
                  </a:lnTo>
                  <a:lnTo>
                    <a:pt x="0" y="46"/>
                  </a:lnTo>
                  <a:lnTo>
                    <a:pt x="0" y="53"/>
                  </a:lnTo>
                  <a:lnTo>
                    <a:pt x="14" y="56"/>
                  </a:lnTo>
                  <a:lnTo>
                    <a:pt x="25" y="45"/>
                  </a:lnTo>
                  <a:lnTo>
                    <a:pt x="25" y="40"/>
                  </a:lnTo>
                  <a:lnTo>
                    <a:pt x="34" y="31"/>
                  </a:lnTo>
                  <a:lnTo>
                    <a:pt x="34" y="22"/>
                  </a:lnTo>
                  <a:lnTo>
                    <a:pt x="38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Freeform 127">
              <a:extLst>
                <a:ext uri="{FF2B5EF4-FFF2-40B4-BE49-F238E27FC236}">
                  <a16:creationId xmlns:a16="http://schemas.microsoft.com/office/drawing/2014/main" id="{393AB071-7D6D-0081-8ECB-9E2BF269A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7296" y="2232884"/>
              <a:ext cx="712075" cy="545905"/>
            </a:xfrm>
            <a:custGeom>
              <a:avLst/>
              <a:gdLst>
                <a:gd name="T0" fmla="*/ 0 w 179"/>
                <a:gd name="T1" fmla="*/ 32813589 h 141"/>
                <a:gd name="T2" fmla="*/ 1811165 w 179"/>
                <a:gd name="T3" fmla="*/ 27840313 h 141"/>
                <a:gd name="T4" fmla="*/ 8588316 w 179"/>
                <a:gd name="T5" fmla="*/ 24599176 h 141"/>
                <a:gd name="T6" fmla="*/ 11772528 w 179"/>
                <a:gd name="T7" fmla="*/ 22426870 h 141"/>
                <a:gd name="T8" fmla="*/ 18198486 w 179"/>
                <a:gd name="T9" fmla="*/ 24599176 h 141"/>
                <a:gd name="T10" fmla="*/ 21808716 w 179"/>
                <a:gd name="T11" fmla="*/ 18896695 h 141"/>
                <a:gd name="T12" fmla="*/ 20009522 w 179"/>
                <a:gd name="T13" fmla="*/ 17450554 h 141"/>
                <a:gd name="T14" fmla="*/ 21808716 w 179"/>
                <a:gd name="T15" fmla="*/ 10679286 h 141"/>
                <a:gd name="T16" fmla="*/ 24260413 w 179"/>
                <a:gd name="T17" fmla="*/ 6420126 h 141"/>
                <a:gd name="T18" fmla="*/ 24260413 w 179"/>
                <a:gd name="T19" fmla="*/ 3182037 h 141"/>
                <a:gd name="T20" fmla="*/ 25708134 w 179"/>
                <a:gd name="T21" fmla="*/ 1809229 h 141"/>
                <a:gd name="T22" fmla="*/ 29241389 w 179"/>
                <a:gd name="T23" fmla="*/ 3182037 h 141"/>
                <a:gd name="T24" fmla="*/ 30689248 w 179"/>
                <a:gd name="T25" fmla="*/ 3182037 h 141"/>
                <a:gd name="T26" fmla="*/ 40721803 w 179"/>
                <a:gd name="T27" fmla="*/ 0 h 141"/>
                <a:gd name="T28" fmla="*/ 42461771 w 179"/>
                <a:gd name="T29" fmla="*/ 3182037 h 141"/>
                <a:gd name="T30" fmla="*/ 43906605 w 179"/>
                <a:gd name="T31" fmla="*/ 1809229 h 141"/>
                <a:gd name="T32" fmla="*/ 50698142 w 179"/>
                <a:gd name="T33" fmla="*/ 4976307 h 141"/>
                <a:gd name="T34" fmla="*/ 55679138 w 179"/>
                <a:gd name="T35" fmla="*/ 7863355 h 141"/>
                <a:gd name="T36" fmla="*/ 62104968 w 179"/>
                <a:gd name="T37" fmla="*/ 12110548 h 141"/>
                <a:gd name="T38" fmla="*/ 63918554 w 179"/>
                <a:gd name="T39" fmla="*/ 13919801 h 141"/>
                <a:gd name="T40" fmla="*/ 58923161 w 179"/>
                <a:gd name="T41" fmla="*/ 17101837 h 141"/>
                <a:gd name="T42" fmla="*/ 60734296 w 179"/>
                <a:gd name="T43" fmla="*/ 20339919 h 141"/>
                <a:gd name="T44" fmla="*/ 55679138 w 179"/>
                <a:gd name="T45" fmla="*/ 22426870 h 141"/>
                <a:gd name="T46" fmla="*/ 53942165 w 179"/>
                <a:gd name="T47" fmla="*/ 34552391 h 141"/>
                <a:gd name="T48" fmla="*/ 50698142 w 179"/>
                <a:gd name="T49" fmla="*/ 36346656 h 141"/>
                <a:gd name="T50" fmla="*/ 48520786 w 179"/>
                <a:gd name="T51" fmla="*/ 40679957 h 141"/>
                <a:gd name="T52" fmla="*/ 42461771 w 179"/>
                <a:gd name="T53" fmla="*/ 45290289 h 141"/>
                <a:gd name="T54" fmla="*/ 34295993 w 179"/>
                <a:gd name="T55" fmla="*/ 46733958 h 141"/>
                <a:gd name="T56" fmla="*/ 29241389 w 179"/>
                <a:gd name="T57" fmla="*/ 48472167 h 141"/>
                <a:gd name="T58" fmla="*/ 25708134 w 179"/>
                <a:gd name="T59" fmla="*/ 50267163 h 141"/>
                <a:gd name="T60" fmla="*/ 24260413 w 179"/>
                <a:gd name="T61" fmla="*/ 47100076 h 141"/>
                <a:gd name="T62" fmla="*/ 23911990 w 179"/>
                <a:gd name="T63" fmla="*/ 42049646 h 141"/>
                <a:gd name="T64" fmla="*/ 21442376 w 179"/>
                <a:gd name="T65" fmla="*/ 40679957 h 141"/>
                <a:gd name="T66" fmla="*/ 20360842 w 179"/>
                <a:gd name="T67" fmla="*/ 32813589 h 141"/>
                <a:gd name="T68" fmla="*/ 12138849 w 179"/>
                <a:gd name="T69" fmla="*/ 34259849 h 141"/>
                <a:gd name="T70" fmla="*/ 5347299 w 179"/>
                <a:gd name="T71" fmla="*/ 32813589 h 14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9"/>
                <a:gd name="T109" fmla="*/ 0 h 141"/>
                <a:gd name="T110" fmla="*/ 179 w 179"/>
                <a:gd name="T111" fmla="*/ 141 h 14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9" h="141">
                  <a:moveTo>
                    <a:pt x="10" y="87"/>
                  </a:moveTo>
                  <a:lnTo>
                    <a:pt x="0" y="92"/>
                  </a:lnTo>
                  <a:lnTo>
                    <a:pt x="1" y="83"/>
                  </a:lnTo>
                  <a:lnTo>
                    <a:pt x="5" y="78"/>
                  </a:lnTo>
                  <a:lnTo>
                    <a:pt x="10" y="69"/>
                  </a:lnTo>
                  <a:lnTo>
                    <a:pt x="24" y="69"/>
                  </a:lnTo>
                  <a:lnTo>
                    <a:pt x="28" y="69"/>
                  </a:lnTo>
                  <a:lnTo>
                    <a:pt x="33" y="63"/>
                  </a:lnTo>
                  <a:lnTo>
                    <a:pt x="43" y="69"/>
                  </a:lnTo>
                  <a:lnTo>
                    <a:pt x="51" y="69"/>
                  </a:lnTo>
                  <a:lnTo>
                    <a:pt x="61" y="58"/>
                  </a:lnTo>
                  <a:lnTo>
                    <a:pt x="61" y="53"/>
                  </a:lnTo>
                  <a:lnTo>
                    <a:pt x="56" y="53"/>
                  </a:lnTo>
                  <a:lnTo>
                    <a:pt x="56" y="49"/>
                  </a:lnTo>
                  <a:lnTo>
                    <a:pt x="61" y="44"/>
                  </a:lnTo>
                  <a:cubicBezTo>
                    <a:pt x="61" y="40"/>
                    <a:pt x="61" y="35"/>
                    <a:pt x="61" y="30"/>
                  </a:cubicBezTo>
                  <a:lnTo>
                    <a:pt x="68" y="23"/>
                  </a:lnTo>
                  <a:lnTo>
                    <a:pt x="68" y="18"/>
                  </a:lnTo>
                  <a:lnTo>
                    <a:pt x="63" y="14"/>
                  </a:lnTo>
                  <a:lnTo>
                    <a:pt x="68" y="9"/>
                  </a:lnTo>
                  <a:lnTo>
                    <a:pt x="72" y="9"/>
                  </a:lnTo>
                  <a:lnTo>
                    <a:pt x="72" y="5"/>
                  </a:lnTo>
                  <a:lnTo>
                    <a:pt x="77" y="9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105" y="0"/>
                  </a:lnTo>
                  <a:lnTo>
                    <a:pt x="114" y="0"/>
                  </a:lnTo>
                  <a:lnTo>
                    <a:pt x="114" y="5"/>
                  </a:lnTo>
                  <a:lnTo>
                    <a:pt x="119" y="9"/>
                  </a:lnTo>
                  <a:lnTo>
                    <a:pt x="123" y="9"/>
                  </a:lnTo>
                  <a:lnTo>
                    <a:pt x="123" y="5"/>
                  </a:lnTo>
                  <a:lnTo>
                    <a:pt x="133" y="9"/>
                  </a:lnTo>
                  <a:lnTo>
                    <a:pt x="142" y="14"/>
                  </a:lnTo>
                  <a:lnTo>
                    <a:pt x="151" y="14"/>
                  </a:lnTo>
                  <a:lnTo>
                    <a:pt x="156" y="22"/>
                  </a:lnTo>
                  <a:lnTo>
                    <a:pt x="170" y="29"/>
                  </a:lnTo>
                  <a:lnTo>
                    <a:pt x="174" y="34"/>
                  </a:lnTo>
                  <a:lnTo>
                    <a:pt x="179" y="34"/>
                  </a:lnTo>
                  <a:lnTo>
                    <a:pt x="179" y="39"/>
                  </a:lnTo>
                  <a:lnTo>
                    <a:pt x="175" y="38"/>
                  </a:lnTo>
                  <a:lnTo>
                    <a:pt x="165" y="48"/>
                  </a:lnTo>
                  <a:lnTo>
                    <a:pt x="165" y="52"/>
                  </a:lnTo>
                  <a:lnTo>
                    <a:pt x="170" y="57"/>
                  </a:lnTo>
                  <a:lnTo>
                    <a:pt x="170" y="62"/>
                  </a:lnTo>
                  <a:lnTo>
                    <a:pt x="156" y="63"/>
                  </a:lnTo>
                  <a:lnTo>
                    <a:pt x="155" y="89"/>
                  </a:lnTo>
                  <a:lnTo>
                    <a:pt x="151" y="97"/>
                  </a:lnTo>
                  <a:lnTo>
                    <a:pt x="147" y="97"/>
                  </a:lnTo>
                  <a:lnTo>
                    <a:pt x="142" y="102"/>
                  </a:lnTo>
                  <a:lnTo>
                    <a:pt x="141" y="108"/>
                  </a:lnTo>
                  <a:lnTo>
                    <a:pt x="136" y="114"/>
                  </a:lnTo>
                  <a:lnTo>
                    <a:pt x="132" y="122"/>
                  </a:lnTo>
                  <a:lnTo>
                    <a:pt x="119" y="127"/>
                  </a:lnTo>
                  <a:lnTo>
                    <a:pt x="109" y="127"/>
                  </a:lnTo>
                  <a:lnTo>
                    <a:pt x="96" y="131"/>
                  </a:lnTo>
                  <a:lnTo>
                    <a:pt x="91" y="136"/>
                  </a:lnTo>
                  <a:lnTo>
                    <a:pt x="82" y="136"/>
                  </a:lnTo>
                  <a:lnTo>
                    <a:pt x="77" y="141"/>
                  </a:lnTo>
                  <a:lnTo>
                    <a:pt x="72" y="141"/>
                  </a:lnTo>
                  <a:lnTo>
                    <a:pt x="72" y="136"/>
                  </a:lnTo>
                  <a:lnTo>
                    <a:pt x="68" y="132"/>
                  </a:lnTo>
                  <a:lnTo>
                    <a:pt x="63" y="127"/>
                  </a:lnTo>
                  <a:lnTo>
                    <a:pt x="67" y="118"/>
                  </a:lnTo>
                  <a:lnTo>
                    <a:pt x="63" y="118"/>
                  </a:lnTo>
                  <a:lnTo>
                    <a:pt x="60" y="114"/>
                  </a:lnTo>
                  <a:lnTo>
                    <a:pt x="61" y="96"/>
                  </a:lnTo>
                  <a:lnTo>
                    <a:pt x="57" y="92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29" y="92"/>
                  </a:lnTo>
                  <a:lnTo>
                    <a:pt x="15" y="92"/>
                  </a:lnTo>
                  <a:lnTo>
                    <a:pt x="10" y="87"/>
                  </a:lnTo>
                </a:path>
              </a:pathLst>
            </a:custGeom>
            <a:solidFill>
              <a:srgbClr val="FF990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Freeform 128">
              <a:extLst>
                <a:ext uri="{FF2B5EF4-FFF2-40B4-BE49-F238E27FC236}">
                  <a16:creationId xmlns:a16="http://schemas.microsoft.com/office/drawing/2014/main" id="{5A12E219-5A2A-7710-EED1-34CAFA378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3735" y="1878084"/>
              <a:ext cx="592189" cy="619528"/>
            </a:xfrm>
            <a:custGeom>
              <a:avLst/>
              <a:gdLst>
                <a:gd name="T0" fmla="*/ 1787857 w 149"/>
                <a:gd name="T1" fmla="*/ 11402107 h 160"/>
                <a:gd name="T2" fmla="*/ 0 w 149"/>
                <a:gd name="T3" fmla="*/ 15373855 h 160"/>
                <a:gd name="T4" fmla="*/ 1787857 w 149"/>
                <a:gd name="T5" fmla="*/ 17110416 h 160"/>
                <a:gd name="T6" fmla="*/ 1787857 w 149"/>
                <a:gd name="T7" fmla="*/ 20352714 h 160"/>
                <a:gd name="T8" fmla="*/ 3514252 w 149"/>
                <a:gd name="T9" fmla="*/ 21797114 h 160"/>
                <a:gd name="T10" fmla="*/ 2149801 w 149"/>
                <a:gd name="T11" fmla="*/ 24250993 h 160"/>
                <a:gd name="T12" fmla="*/ 3514252 w 149"/>
                <a:gd name="T13" fmla="*/ 27505403 h 160"/>
                <a:gd name="T14" fmla="*/ 2149801 w 149"/>
                <a:gd name="T15" fmla="*/ 29226974 h 160"/>
                <a:gd name="T16" fmla="*/ 3514252 w 149"/>
                <a:gd name="T17" fmla="*/ 34279900 h 160"/>
                <a:gd name="T18" fmla="*/ 4225697 w 149"/>
                <a:gd name="T19" fmla="*/ 36382555 h 160"/>
                <a:gd name="T20" fmla="*/ 11692541 w 149"/>
                <a:gd name="T21" fmla="*/ 32833082 h 160"/>
                <a:gd name="T22" fmla="*/ 14844852 w 149"/>
                <a:gd name="T23" fmla="*/ 34645994 h 160"/>
                <a:gd name="T24" fmla="*/ 18432372 w 149"/>
                <a:gd name="T25" fmla="*/ 36016303 h 160"/>
                <a:gd name="T26" fmla="*/ 24825705 w 149"/>
                <a:gd name="T27" fmla="*/ 37826327 h 160"/>
                <a:gd name="T28" fmla="*/ 29777807 w 149"/>
                <a:gd name="T29" fmla="*/ 41069367 h 160"/>
                <a:gd name="T30" fmla="*/ 36518240 w 149"/>
                <a:gd name="T31" fmla="*/ 44967047 h 160"/>
                <a:gd name="T32" fmla="*/ 38247039 w 149"/>
                <a:gd name="T33" fmla="*/ 46777527 h 160"/>
                <a:gd name="T34" fmla="*/ 34733406 w 149"/>
                <a:gd name="T35" fmla="*/ 48135871 h 160"/>
                <a:gd name="T36" fmla="*/ 32930711 w 149"/>
                <a:gd name="T37" fmla="*/ 51390281 h 160"/>
                <a:gd name="T38" fmla="*/ 34733406 w 149"/>
                <a:gd name="T39" fmla="*/ 54922293 h 160"/>
                <a:gd name="T40" fmla="*/ 41108903 w 149"/>
                <a:gd name="T41" fmla="*/ 54922293 h 160"/>
                <a:gd name="T42" fmla="*/ 42911588 w 149"/>
                <a:gd name="T43" fmla="*/ 44967047 h 160"/>
                <a:gd name="T44" fmla="*/ 44622624 w 149"/>
                <a:gd name="T45" fmla="*/ 27505403 h 160"/>
                <a:gd name="T46" fmla="*/ 46425340 w 149"/>
                <a:gd name="T47" fmla="*/ 24980453 h 160"/>
                <a:gd name="T48" fmla="*/ 51015962 w 149"/>
                <a:gd name="T49" fmla="*/ 21797114 h 160"/>
                <a:gd name="T50" fmla="*/ 51015962 w 149"/>
                <a:gd name="T51" fmla="*/ 18557688 h 160"/>
                <a:gd name="T52" fmla="*/ 49651409 w 149"/>
                <a:gd name="T53" fmla="*/ 13563959 h 160"/>
                <a:gd name="T54" fmla="*/ 51015962 w 149"/>
                <a:gd name="T55" fmla="*/ 6789469 h 160"/>
                <a:gd name="T56" fmla="*/ 45713880 w 149"/>
                <a:gd name="T57" fmla="*/ 3183226 h 160"/>
                <a:gd name="T58" fmla="*/ 42546611 w 149"/>
                <a:gd name="T59" fmla="*/ 0 h 160"/>
                <a:gd name="T60" fmla="*/ 37594657 w 149"/>
                <a:gd name="T61" fmla="*/ 3183226 h 160"/>
                <a:gd name="T62" fmla="*/ 34368469 w 149"/>
                <a:gd name="T63" fmla="*/ 4978855 h 160"/>
                <a:gd name="T64" fmla="*/ 32930711 w 149"/>
                <a:gd name="T65" fmla="*/ 1080570 h 160"/>
                <a:gd name="T66" fmla="*/ 27978016 w 149"/>
                <a:gd name="T67" fmla="*/ 4264404 h 160"/>
                <a:gd name="T68" fmla="*/ 16647538 w 149"/>
                <a:gd name="T69" fmla="*/ 7870039 h 160"/>
                <a:gd name="T70" fmla="*/ 11692541 w 149"/>
                <a:gd name="T71" fmla="*/ 11035983 h 160"/>
                <a:gd name="T72" fmla="*/ 8540232 w 149"/>
                <a:gd name="T73" fmla="*/ 13563959 h 160"/>
                <a:gd name="T74" fmla="*/ 4952099 w 149"/>
                <a:gd name="T75" fmla="*/ 9606476 h 16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9"/>
                <a:gd name="T115" fmla="*/ 0 h 160"/>
                <a:gd name="T116" fmla="*/ 149 w 149"/>
                <a:gd name="T117" fmla="*/ 160 h 16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9" h="160">
                  <a:moveTo>
                    <a:pt x="14" y="27"/>
                  </a:moveTo>
                  <a:lnTo>
                    <a:pt x="5" y="32"/>
                  </a:lnTo>
                  <a:lnTo>
                    <a:pt x="5" y="38"/>
                  </a:lnTo>
                  <a:lnTo>
                    <a:pt x="0" y="43"/>
                  </a:lnTo>
                  <a:lnTo>
                    <a:pt x="9" y="47"/>
                  </a:lnTo>
                  <a:lnTo>
                    <a:pt x="5" y="48"/>
                  </a:lnTo>
                  <a:lnTo>
                    <a:pt x="5" y="52"/>
                  </a:lnTo>
                  <a:lnTo>
                    <a:pt x="5" y="57"/>
                  </a:lnTo>
                  <a:lnTo>
                    <a:pt x="5" y="61"/>
                  </a:lnTo>
                  <a:lnTo>
                    <a:pt x="10" y="61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10" y="77"/>
                  </a:lnTo>
                  <a:lnTo>
                    <a:pt x="6" y="77"/>
                  </a:lnTo>
                  <a:lnTo>
                    <a:pt x="6" y="82"/>
                  </a:lnTo>
                  <a:lnTo>
                    <a:pt x="10" y="92"/>
                  </a:lnTo>
                  <a:lnTo>
                    <a:pt x="10" y="96"/>
                  </a:lnTo>
                  <a:lnTo>
                    <a:pt x="10" y="101"/>
                  </a:lnTo>
                  <a:lnTo>
                    <a:pt x="12" y="102"/>
                  </a:lnTo>
                  <a:lnTo>
                    <a:pt x="14" y="101"/>
                  </a:lnTo>
                  <a:lnTo>
                    <a:pt x="33" y="92"/>
                  </a:lnTo>
                  <a:lnTo>
                    <a:pt x="42" y="92"/>
                  </a:lnTo>
                  <a:lnTo>
                    <a:pt x="42" y="97"/>
                  </a:lnTo>
                  <a:lnTo>
                    <a:pt x="47" y="101"/>
                  </a:lnTo>
                  <a:lnTo>
                    <a:pt x="52" y="101"/>
                  </a:lnTo>
                  <a:lnTo>
                    <a:pt x="52" y="97"/>
                  </a:lnTo>
                  <a:lnTo>
                    <a:pt x="70" y="106"/>
                  </a:lnTo>
                  <a:lnTo>
                    <a:pt x="79" y="105"/>
                  </a:lnTo>
                  <a:lnTo>
                    <a:pt x="84" y="115"/>
                  </a:lnTo>
                  <a:lnTo>
                    <a:pt x="98" y="121"/>
                  </a:lnTo>
                  <a:lnTo>
                    <a:pt x="103" y="126"/>
                  </a:lnTo>
                  <a:lnTo>
                    <a:pt x="108" y="126"/>
                  </a:lnTo>
                  <a:lnTo>
                    <a:pt x="108" y="131"/>
                  </a:lnTo>
                  <a:lnTo>
                    <a:pt x="103" y="131"/>
                  </a:lnTo>
                  <a:lnTo>
                    <a:pt x="98" y="135"/>
                  </a:lnTo>
                  <a:lnTo>
                    <a:pt x="93" y="140"/>
                  </a:lnTo>
                  <a:lnTo>
                    <a:pt x="93" y="144"/>
                  </a:lnTo>
                  <a:lnTo>
                    <a:pt x="98" y="149"/>
                  </a:lnTo>
                  <a:lnTo>
                    <a:pt x="98" y="154"/>
                  </a:lnTo>
                  <a:lnTo>
                    <a:pt x="108" y="160"/>
                  </a:lnTo>
                  <a:lnTo>
                    <a:pt x="116" y="154"/>
                  </a:lnTo>
                  <a:lnTo>
                    <a:pt x="116" y="144"/>
                  </a:lnTo>
                  <a:lnTo>
                    <a:pt x="121" y="126"/>
                  </a:lnTo>
                  <a:cubicBezTo>
                    <a:pt x="121" y="112"/>
                    <a:pt x="121" y="96"/>
                    <a:pt x="121" y="82"/>
                  </a:cubicBezTo>
                  <a:lnTo>
                    <a:pt x="126" y="77"/>
                  </a:lnTo>
                  <a:lnTo>
                    <a:pt x="126" y="70"/>
                  </a:lnTo>
                  <a:lnTo>
                    <a:pt x="131" y="70"/>
                  </a:lnTo>
                  <a:lnTo>
                    <a:pt x="135" y="70"/>
                  </a:lnTo>
                  <a:lnTo>
                    <a:pt x="144" y="61"/>
                  </a:lnTo>
                  <a:lnTo>
                    <a:pt x="149" y="52"/>
                  </a:lnTo>
                  <a:lnTo>
                    <a:pt x="144" y="52"/>
                  </a:lnTo>
                  <a:lnTo>
                    <a:pt x="144" y="47"/>
                  </a:lnTo>
                  <a:lnTo>
                    <a:pt x="140" y="38"/>
                  </a:lnTo>
                  <a:lnTo>
                    <a:pt x="144" y="38"/>
                  </a:lnTo>
                  <a:cubicBezTo>
                    <a:pt x="144" y="32"/>
                    <a:pt x="144" y="25"/>
                    <a:pt x="144" y="19"/>
                  </a:cubicBezTo>
                  <a:lnTo>
                    <a:pt x="134" y="9"/>
                  </a:lnTo>
                  <a:lnTo>
                    <a:pt x="129" y="9"/>
                  </a:lnTo>
                  <a:lnTo>
                    <a:pt x="125" y="5"/>
                  </a:lnTo>
                  <a:lnTo>
                    <a:pt x="120" y="0"/>
                  </a:lnTo>
                  <a:lnTo>
                    <a:pt x="111" y="9"/>
                  </a:lnTo>
                  <a:lnTo>
                    <a:pt x="106" y="9"/>
                  </a:lnTo>
                  <a:lnTo>
                    <a:pt x="101" y="13"/>
                  </a:lnTo>
                  <a:lnTo>
                    <a:pt x="97" y="14"/>
                  </a:lnTo>
                  <a:lnTo>
                    <a:pt x="92" y="9"/>
                  </a:lnTo>
                  <a:lnTo>
                    <a:pt x="93" y="3"/>
                  </a:lnTo>
                  <a:lnTo>
                    <a:pt x="89" y="3"/>
                  </a:lnTo>
                  <a:lnTo>
                    <a:pt x="79" y="12"/>
                  </a:lnTo>
                  <a:cubicBezTo>
                    <a:pt x="69" y="12"/>
                    <a:pt x="57" y="12"/>
                    <a:pt x="47" y="12"/>
                  </a:cubicBezTo>
                  <a:lnTo>
                    <a:pt x="47" y="22"/>
                  </a:lnTo>
                  <a:lnTo>
                    <a:pt x="42" y="31"/>
                  </a:lnTo>
                  <a:lnTo>
                    <a:pt x="33" y="31"/>
                  </a:lnTo>
                  <a:lnTo>
                    <a:pt x="33" y="38"/>
                  </a:lnTo>
                  <a:lnTo>
                    <a:pt x="24" y="38"/>
                  </a:lnTo>
                  <a:lnTo>
                    <a:pt x="20" y="27"/>
                  </a:lnTo>
                  <a:lnTo>
                    <a:pt x="14" y="2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" name="Freeform 129">
              <a:extLst>
                <a:ext uri="{FF2B5EF4-FFF2-40B4-BE49-F238E27FC236}">
                  <a16:creationId xmlns:a16="http://schemas.microsoft.com/office/drawing/2014/main" id="{9AEC73BE-075A-2093-E33A-B5E20819B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8333" y="1503705"/>
              <a:ext cx="371727" cy="524758"/>
            </a:xfrm>
            <a:custGeom>
              <a:avLst/>
              <a:gdLst>
                <a:gd name="T0" fmla="*/ 1863594 w 93"/>
                <a:gd name="T1" fmla="*/ 43032130 h 136"/>
                <a:gd name="T2" fmla="*/ 4102451 w 93"/>
                <a:gd name="T3" fmla="*/ 43032130 h 136"/>
                <a:gd name="T4" fmla="*/ 5606083 w 93"/>
                <a:gd name="T5" fmla="*/ 46833275 h 136"/>
                <a:gd name="T6" fmla="*/ 8882715 w 93"/>
                <a:gd name="T7" fmla="*/ 47190148 h 136"/>
                <a:gd name="T8" fmla="*/ 8882715 w 93"/>
                <a:gd name="T9" fmla="*/ 44445277 h 136"/>
                <a:gd name="T10" fmla="*/ 12249936 w 93"/>
                <a:gd name="T11" fmla="*/ 44445277 h 136"/>
                <a:gd name="T12" fmla="*/ 14114130 w 93"/>
                <a:gd name="T13" fmla="*/ 41273312 h 136"/>
                <a:gd name="T14" fmla="*/ 14114130 w 93"/>
                <a:gd name="T15" fmla="*/ 37826242 h 136"/>
                <a:gd name="T16" fmla="*/ 25985981 w 93"/>
                <a:gd name="T17" fmla="*/ 37826242 h 136"/>
                <a:gd name="T18" fmla="*/ 29262484 w 93"/>
                <a:gd name="T19" fmla="*/ 35068937 h 136"/>
                <a:gd name="T20" fmla="*/ 30766140 w 93"/>
                <a:gd name="T21" fmla="*/ 33310720 h 136"/>
                <a:gd name="T22" fmla="*/ 32629837 w 93"/>
                <a:gd name="T23" fmla="*/ 33310720 h 136"/>
                <a:gd name="T24" fmla="*/ 34118291 w 93"/>
                <a:gd name="T25" fmla="*/ 29506107 h 136"/>
                <a:gd name="T26" fmla="*/ 34493415 w 93"/>
                <a:gd name="T27" fmla="*/ 25002310 h 136"/>
                <a:gd name="T28" fmla="*/ 32629837 w 93"/>
                <a:gd name="T29" fmla="*/ 21485757 h 136"/>
                <a:gd name="T30" fmla="*/ 31141403 w 93"/>
                <a:gd name="T31" fmla="*/ 16340480 h 136"/>
                <a:gd name="T32" fmla="*/ 31141403 w 93"/>
                <a:gd name="T33" fmla="*/ 9721437 h 136"/>
                <a:gd name="T34" fmla="*/ 29262484 w 93"/>
                <a:gd name="T35" fmla="*/ 4161621 h 136"/>
                <a:gd name="T36" fmla="*/ 30766140 w 93"/>
                <a:gd name="T37" fmla="*/ 2744877 h 136"/>
                <a:gd name="T38" fmla="*/ 29262484 w 93"/>
                <a:gd name="T39" fmla="*/ 2744877 h 136"/>
                <a:gd name="T40" fmla="*/ 27474436 w 93"/>
                <a:gd name="T41" fmla="*/ 0 h 136"/>
                <a:gd name="T42" fmla="*/ 25610698 w 93"/>
                <a:gd name="T43" fmla="*/ 2402669 h 136"/>
                <a:gd name="T44" fmla="*/ 24122284 w 93"/>
                <a:gd name="T45" fmla="*/ 4161621 h 136"/>
                <a:gd name="T46" fmla="*/ 22243484 w 93"/>
                <a:gd name="T47" fmla="*/ 4161621 h 136"/>
                <a:gd name="T48" fmla="*/ 20755045 w 93"/>
                <a:gd name="T49" fmla="*/ 6975956 h 136"/>
                <a:gd name="T50" fmla="*/ 20379911 w 93"/>
                <a:gd name="T51" fmla="*/ 14225241 h 136"/>
                <a:gd name="T52" fmla="*/ 19269552 w 93"/>
                <a:gd name="T53" fmla="*/ 15281358 h 136"/>
                <a:gd name="T54" fmla="*/ 18891328 w 93"/>
                <a:gd name="T55" fmla="*/ 19085478 h 136"/>
                <a:gd name="T56" fmla="*/ 20379911 w 93"/>
                <a:gd name="T57" fmla="*/ 19085478 h 136"/>
                <a:gd name="T58" fmla="*/ 20379911 w 93"/>
                <a:gd name="T59" fmla="*/ 22530169 h 136"/>
                <a:gd name="T60" fmla="*/ 11874782 w 93"/>
                <a:gd name="T61" fmla="*/ 22887062 h 136"/>
                <a:gd name="T62" fmla="*/ 8507456 w 93"/>
                <a:gd name="T63" fmla="*/ 25705002 h 136"/>
                <a:gd name="T64" fmla="*/ 5230944 w 93"/>
                <a:gd name="T65" fmla="*/ 27390878 h 136"/>
                <a:gd name="T66" fmla="*/ 3367354 w 93"/>
                <a:gd name="T67" fmla="*/ 31552365 h 136"/>
                <a:gd name="T68" fmla="*/ 1863594 w 93"/>
                <a:gd name="T69" fmla="*/ 34366836 h 136"/>
                <a:gd name="T70" fmla="*/ 1863594 w 93"/>
                <a:gd name="T71" fmla="*/ 37469329 h 136"/>
                <a:gd name="T72" fmla="*/ 0 w 93"/>
                <a:gd name="T73" fmla="*/ 41273312 h 136"/>
                <a:gd name="T74" fmla="*/ 1863594 w 93"/>
                <a:gd name="T75" fmla="*/ 43032130 h 1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3"/>
                <a:gd name="T115" fmla="*/ 0 h 136"/>
                <a:gd name="T116" fmla="*/ 93 w 93"/>
                <a:gd name="T117" fmla="*/ 136 h 1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3" h="136">
                  <a:moveTo>
                    <a:pt x="5" y="124"/>
                  </a:moveTo>
                  <a:lnTo>
                    <a:pt x="11" y="124"/>
                  </a:lnTo>
                  <a:lnTo>
                    <a:pt x="15" y="135"/>
                  </a:lnTo>
                  <a:lnTo>
                    <a:pt x="24" y="136"/>
                  </a:lnTo>
                  <a:lnTo>
                    <a:pt x="24" y="128"/>
                  </a:lnTo>
                  <a:lnTo>
                    <a:pt x="33" y="128"/>
                  </a:lnTo>
                  <a:lnTo>
                    <a:pt x="38" y="119"/>
                  </a:lnTo>
                  <a:lnTo>
                    <a:pt x="38" y="109"/>
                  </a:lnTo>
                  <a:lnTo>
                    <a:pt x="70" y="109"/>
                  </a:lnTo>
                  <a:lnTo>
                    <a:pt x="79" y="101"/>
                  </a:lnTo>
                  <a:lnTo>
                    <a:pt x="83" y="96"/>
                  </a:lnTo>
                  <a:lnTo>
                    <a:pt x="88" y="96"/>
                  </a:lnTo>
                  <a:lnTo>
                    <a:pt x="92" y="85"/>
                  </a:lnTo>
                  <a:lnTo>
                    <a:pt x="93" y="72"/>
                  </a:lnTo>
                  <a:lnTo>
                    <a:pt x="88" y="62"/>
                  </a:lnTo>
                  <a:lnTo>
                    <a:pt x="84" y="47"/>
                  </a:lnTo>
                  <a:lnTo>
                    <a:pt x="84" y="28"/>
                  </a:lnTo>
                  <a:lnTo>
                    <a:pt x="79" y="12"/>
                  </a:lnTo>
                  <a:lnTo>
                    <a:pt x="83" y="8"/>
                  </a:lnTo>
                  <a:lnTo>
                    <a:pt x="79" y="8"/>
                  </a:lnTo>
                  <a:lnTo>
                    <a:pt x="74" y="0"/>
                  </a:lnTo>
                  <a:lnTo>
                    <a:pt x="69" y="7"/>
                  </a:lnTo>
                  <a:lnTo>
                    <a:pt x="65" y="12"/>
                  </a:lnTo>
                  <a:lnTo>
                    <a:pt x="60" y="12"/>
                  </a:lnTo>
                  <a:lnTo>
                    <a:pt x="56" y="20"/>
                  </a:lnTo>
                  <a:lnTo>
                    <a:pt x="55" y="41"/>
                  </a:lnTo>
                  <a:lnTo>
                    <a:pt x="52" y="44"/>
                  </a:lnTo>
                  <a:lnTo>
                    <a:pt x="51" y="55"/>
                  </a:lnTo>
                  <a:lnTo>
                    <a:pt x="55" y="55"/>
                  </a:lnTo>
                  <a:lnTo>
                    <a:pt x="55" y="65"/>
                  </a:lnTo>
                  <a:lnTo>
                    <a:pt x="32" y="66"/>
                  </a:lnTo>
                  <a:lnTo>
                    <a:pt x="23" y="74"/>
                  </a:lnTo>
                  <a:lnTo>
                    <a:pt x="14" y="79"/>
                  </a:lnTo>
                  <a:lnTo>
                    <a:pt x="9" y="91"/>
                  </a:lnTo>
                  <a:lnTo>
                    <a:pt x="5" y="99"/>
                  </a:lnTo>
                  <a:lnTo>
                    <a:pt x="5" y="108"/>
                  </a:lnTo>
                  <a:lnTo>
                    <a:pt x="0" y="119"/>
                  </a:lnTo>
                  <a:lnTo>
                    <a:pt x="5" y="1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Freeform 130">
              <a:extLst>
                <a:ext uri="{FF2B5EF4-FFF2-40B4-BE49-F238E27FC236}">
                  <a16:creationId xmlns:a16="http://schemas.microsoft.com/office/drawing/2014/main" id="{70ABBB44-6725-8BCC-891D-96CF60EC0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0387" y="1809161"/>
              <a:ext cx="481958" cy="254547"/>
            </a:xfrm>
            <a:custGeom>
              <a:avLst/>
              <a:gdLst>
                <a:gd name="T0" fmla="*/ 43638812 w 121"/>
                <a:gd name="T1" fmla="*/ 13830905 h 66"/>
                <a:gd name="T2" fmla="*/ 21635073 w 121"/>
                <a:gd name="T3" fmla="*/ 5903797 h 66"/>
                <a:gd name="T4" fmla="*/ 1457016 w 121"/>
                <a:gd name="T5" fmla="*/ 0 h 66"/>
                <a:gd name="T6" fmla="*/ 1825718 w 121"/>
                <a:gd name="T7" fmla="*/ 2110825 h 66"/>
                <a:gd name="T8" fmla="*/ 0 w 121"/>
                <a:gd name="T9" fmla="*/ 4490298 h 66"/>
                <a:gd name="T10" fmla="*/ 6490379 w 121"/>
                <a:gd name="T11" fmla="*/ 10735823 h 66"/>
                <a:gd name="T12" fmla="*/ 6490379 w 121"/>
                <a:gd name="T13" fmla="*/ 14187204 h 66"/>
                <a:gd name="T14" fmla="*/ 10126273 w 121"/>
                <a:gd name="T15" fmla="*/ 14187204 h 66"/>
                <a:gd name="T16" fmla="*/ 13334524 w 121"/>
                <a:gd name="T17" fmla="*/ 17264706 h 66"/>
                <a:gd name="T18" fmla="*/ 16616647 w 121"/>
                <a:gd name="T19" fmla="*/ 17264706 h 66"/>
                <a:gd name="T20" fmla="*/ 20178062 w 121"/>
                <a:gd name="T21" fmla="*/ 14187204 h 66"/>
                <a:gd name="T22" fmla="*/ 21635073 w 121"/>
                <a:gd name="T23" fmla="*/ 14187204 h 66"/>
                <a:gd name="T24" fmla="*/ 21635073 w 121"/>
                <a:gd name="T25" fmla="*/ 22812202 h 66"/>
                <a:gd name="T26" fmla="*/ 31761358 w 121"/>
                <a:gd name="T27" fmla="*/ 22812202 h 66"/>
                <a:gd name="T28" fmla="*/ 34969601 w 121"/>
                <a:gd name="T29" fmla="*/ 21413974 h 66"/>
                <a:gd name="T30" fmla="*/ 36794699 w 121"/>
                <a:gd name="T31" fmla="*/ 19731839 h 66"/>
                <a:gd name="T32" fmla="*/ 38620431 w 121"/>
                <a:gd name="T33" fmla="*/ 19731839 h 66"/>
                <a:gd name="T34" fmla="*/ 43638812 w 121"/>
                <a:gd name="T35" fmla="*/ 13830905 h 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1"/>
                <a:gd name="T55" fmla="*/ 0 h 66"/>
                <a:gd name="T56" fmla="*/ 121 w 121"/>
                <a:gd name="T57" fmla="*/ 66 h 6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1" h="66">
                  <a:moveTo>
                    <a:pt x="121" y="40"/>
                  </a:moveTo>
                  <a:lnTo>
                    <a:pt x="60" y="17"/>
                  </a:lnTo>
                  <a:lnTo>
                    <a:pt x="4" y="0"/>
                  </a:lnTo>
                  <a:lnTo>
                    <a:pt x="5" y="6"/>
                  </a:lnTo>
                  <a:lnTo>
                    <a:pt x="0" y="13"/>
                  </a:lnTo>
                  <a:cubicBezTo>
                    <a:pt x="6" y="19"/>
                    <a:pt x="13" y="25"/>
                    <a:pt x="18" y="31"/>
                  </a:cubicBezTo>
                  <a:lnTo>
                    <a:pt x="18" y="41"/>
                  </a:lnTo>
                  <a:lnTo>
                    <a:pt x="28" y="41"/>
                  </a:lnTo>
                  <a:lnTo>
                    <a:pt x="37" y="50"/>
                  </a:lnTo>
                  <a:lnTo>
                    <a:pt x="46" y="50"/>
                  </a:lnTo>
                  <a:lnTo>
                    <a:pt x="56" y="41"/>
                  </a:lnTo>
                  <a:lnTo>
                    <a:pt x="60" y="41"/>
                  </a:lnTo>
                  <a:lnTo>
                    <a:pt x="60" y="66"/>
                  </a:lnTo>
                  <a:cubicBezTo>
                    <a:pt x="70" y="66"/>
                    <a:pt x="79" y="66"/>
                    <a:pt x="88" y="66"/>
                  </a:cubicBezTo>
                  <a:lnTo>
                    <a:pt x="97" y="62"/>
                  </a:lnTo>
                  <a:lnTo>
                    <a:pt x="102" y="57"/>
                  </a:lnTo>
                  <a:lnTo>
                    <a:pt x="107" y="57"/>
                  </a:lnTo>
                  <a:lnTo>
                    <a:pt x="121" y="4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Freeform 131">
              <a:extLst>
                <a:ext uri="{FF2B5EF4-FFF2-40B4-BE49-F238E27FC236}">
                  <a16:creationId xmlns:a16="http://schemas.microsoft.com/office/drawing/2014/main" id="{163FB852-C426-21BF-8946-6F627655A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7288" y="996177"/>
              <a:ext cx="408739" cy="421373"/>
            </a:xfrm>
            <a:custGeom>
              <a:avLst/>
              <a:gdLst>
                <a:gd name="T0" fmla="*/ 24496571 w 103"/>
                <a:gd name="T1" fmla="*/ 0 h 109"/>
                <a:gd name="T2" fmla="*/ 27677045 w 103"/>
                <a:gd name="T3" fmla="*/ 0 h 109"/>
                <a:gd name="T4" fmla="*/ 29390593 w 103"/>
                <a:gd name="T5" fmla="*/ 1778179 h 109"/>
                <a:gd name="T6" fmla="*/ 27677045 w 103"/>
                <a:gd name="T7" fmla="*/ 3497568 h 109"/>
                <a:gd name="T8" fmla="*/ 29390593 w 103"/>
                <a:gd name="T9" fmla="*/ 5999150 h 109"/>
                <a:gd name="T10" fmla="*/ 31161628 w 103"/>
                <a:gd name="T11" fmla="*/ 7416962 h 109"/>
                <a:gd name="T12" fmla="*/ 31161628 w 103"/>
                <a:gd name="T13" fmla="*/ 8776700 h 109"/>
                <a:gd name="T14" fmla="*/ 29390593 w 103"/>
                <a:gd name="T15" fmla="*/ 10554871 h 109"/>
                <a:gd name="T16" fmla="*/ 29390593 w 103"/>
                <a:gd name="T17" fmla="*/ 17263226 h 109"/>
                <a:gd name="T18" fmla="*/ 31161628 w 103"/>
                <a:gd name="T19" fmla="*/ 19694225 h 109"/>
                <a:gd name="T20" fmla="*/ 34284614 w 103"/>
                <a:gd name="T21" fmla="*/ 22902121 h 109"/>
                <a:gd name="T22" fmla="*/ 36055630 w 103"/>
                <a:gd name="T23" fmla="*/ 22902121 h 109"/>
                <a:gd name="T24" fmla="*/ 36055630 w 103"/>
                <a:gd name="T25" fmla="*/ 27832272 h 109"/>
                <a:gd name="T26" fmla="*/ 31161628 w 103"/>
                <a:gd name="T27" fmla="*/ 27832272 h 109"/>
                <a:gd name="T28" fmla="*/ 29390593 w 103"/>
                <a:gd name="T29" fmla="*/ 29264418 h 109"/>
                <a:gd name="T30" fmla="*/ 29390593 w 103"/>
                <a:gd name="T31" fmla="*/ 30969611 h 109"/>
                <a:gd name="T32" fmla="*/ 27677045 w 103"/>
                <a:gd name="T33" fmla="*/ 30969611 h 109"/>
                <a:gd name="T34" fmla="*/ 24496571 w 103"/>
                <a:gd name="T35" fmla="*/ 35249365 h 109"/>
                <a:gd name="T36" fmla="*/ 22783024 w 103"/>
                <a:gd name="T37" fmla="*/ 32762562 h 109"/>
                <a:gd name="T38" fmla="*/ 19590797 w 103"/>
                <a:gd name="T39" fmla="*/ 35249365 h 109"/>
                <a:gd name="T40" fmla="*/ 19590797 w 103"/>
                <a:gd name="T41" fmla="*/ 38386566 h 109"/>
                <a:gd name="T42" fmla="*/ 17892016 w 103"/>
                <a:gd name="T43" fmla="*/ 38386566 h 109"/>
                <a:gd name="T44" fmla="*/ 13631683 w 103"/>
                <a:gd name="T45" fmla="*/ 35612619 h 109"/>
                <a:gd name="T46" fmla="*/ 14696806 w 103"/>
                <a:gd name="T47" fmla="*/ 35249365 h 109"/>
                <a:gd name="T48" fmla="*/ 14696806 w 103"/>
                <a:gd name="T49" fmla="*/ 30969611 h 109"/>
                <a:gd name="T50" fmla="*/ 11571403 w 103"/>
                <a:gd name="T51" fmla="*/ 19694225 h 109"/>
                <a:gd name="T52" fmla="*/ 8375588 w 103"/>
                <a:gd name="T53" fmla="*/ 17263226 h 109"/>
                <a:gd name="T54" fmla="*/ 5253204 w 103"/>
                <a:gd name="T55" fmla="*/ 17263226 h 109"/>
                <a:gd name="T56" fmla="*/ 5253204 w 103"/>
                <a:gd name="T57" fmla="*/ 15485042 h 109"/>
                <a:gd name="T58" fmla="*/ 3484584 w 103"/>
                <a:gd name="T59" fmla="*/ 14055315 h 109"/>
                <a:gd name="T60" fmla="*/ 3484584 w 103"/>
                <a:gd name="T61" fmla="*/ 10554871 h 109"/>
                <a:gd name="T62" fmla="*/ 0 w 103"/>
                <a:gd name="T63" fmla="*/ 8776700 h 109"/>
                <a:gd name="T64" fmla="*/ 0 w 103"/>
                <a:gd name="T65" fmla="*/ 7416962 h 109"/>
                <a:gd name="T66" fmla="*/ 3484584 w 103"/>
                <a:gd name="T67" fmla="*/ 7416962 h 109"/>
                <a:gd name="T68" fmla="*/ 5253204 w 103"/>
                <a:gd name="T69" fmla="*/ 8776700 h 109"/>
                <a:gd name="T70" fmla="*/ 8375588 w 103"/>
                <a:gd name="T71" fmla="*/ 8776700 h 109"/>
                <a:gd name="T72" fmla="*/ 11571403 w 103"/>
                <a:gd name="T73" fmla="*/ 10554871 h 109"/>
                <a:gd name="T74" fmla="*/ 11571403 w 103"/>
                <a:gd name="T75" fmla="*/ 8776700 h 109"/>
                <a:gd name="T76" fmla="*/ 14696806 w 103"/>
                <a:gd name="T77" fmla="*/ 7416962 h 109"/>
                <a:gd name="T78" fmla="*/ 17892016 w 103"/>
                <a:gd name="T79" fmla="*/ 7416962 h 109"/>
                <a:gd name="T80" fmla="*/ 19590797 w 103"/>
                <a:gd name="T81" fmla="*/ 5999150 h 109"/>
                <a:gd name="T82" fmla="*/ 22783024 w 103"/>
                <a:gd name="T83" fmla="*/ 5999150 h 109"/>
                <a:gd name="T84" fmla="*/ 26267607 w 103"/>
                <a:gd name="T85" fmla="*/ 1778179 h 109"/>
                <a:gd name="T86" fmla="*/ 24496571 w 103"/>
                <a:gd name="T87" fmla="*/ 0 h 10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3"/>
                <a:gd name="T133" fmla="*/ 0 h 109"/>
                <a:gd name="T134" fmla="*/ 103 w 103"/>
                <a:gd name="T135" fmla="*/ 109 h 10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3" h="109">
                  <a:moveTo>
                    <a:pt x="70" y="0"/>
                  </a:moveTo>
                  <a:lnTo>
                    <a:pt x="79" y="0"/>
                  </a:lnTo>
                  <a:lnTo>
                    <a:pt x="84" y="5"/>
                  </a:lnTo>
                  <a:lnTo>
                    <a:pt x="79" y="10"/>
                  </a:lnTo>
                  <a:lnTo>
                    <a:pt x="84" y="17"/>
                  </a:lnTo>
                  <a:lnTo>
                    <a:pt x="89" y="21"/>
                  </a:lnTo>
                  <a:lnTo>
                    <a:pt x="89" y="25"/>
                  </a:lnTo>
                  <a:lnTo>
                    <a:pt x="84" y="30"/>
                  </a:lnTo>
                  <a:cubicBezTo>
                    <a:pt x="84" y="36"/>
                    <a:pt x="84" y="43"/>
                    <a:pt x="84" y="49"/>
                  </a:cubicBezTo>
                  <a:lnTo>
                    <a:pt x="89" y="56"/>
                  </a:lnTo>
                  <a:lnTo>
                    <a:pt x="98" y="65"/>
                  </a:lnTo>
                  <a:lnTo>
                    <a:pt x="103" y="65"/>
                  </a:lnTo>
                  <a:lnTo>
                    <a:pt x="103" y="79"/>
                  </a:lnTo>
                  <a:lnTo>
                    <a:pt x="89" y="79"/>
                  </a:lnTo>
                  <a:lnTo>
                    <a:pt x="84" y="83"/>
                  </a:lnTo>
                  <a:lnTo>
                    <a:pt x="84" y="88"/>
                  </a:lnTo>
                  <a:lnTo>
                    <a:pt x="79" y="88"/>
                  </a:lnTo>
                  <a:lnTo>
                    <a:pt x="70" y="100"/>
                  </a:lnTo>
                  <a:lnTo>
                    <a:pt x="65" y="93"/>
                  </a:lnTo>
                  <a:lnTo>
                    <a:pt x="56" y="100"/>
                  </a:lnTo>
                  <a:lnTo>
                    <a:pt x="56" y="109"/>
                  </a:lnTo>
                  <a:lnTo>
                    <a:pt x="51" y="109"/>
                  </a:lnTo>
                  <a:lnTo>
                    <a:pt x="39" y="101"/>
                  </a:lnTo>
                  <a:lnTo>
                    <a:pt x="42" y="100"/>
                  </a:lnTo>
                  <a:lnTo>
                    <a:pt x="42" y="88"/>
                  </a:lnTo>
                  <a:lnTo>
                    <a:pt x="33" y="56"/>
                  </a:lnTo>
                  <a:lnTo>
                    <a:pt x="24" y="49"/>
                  </a:lnTo>
                  <a:lnTo>
                    <a:pt x="15" y="49"/>
                  </a:lnTo>
                  <a:lnTo>
                    <a:pt x="15" y="44"/>
                  </a:lnTo>
                  <a:lnTo>
                    <a:pt x="10" y="40"/>
                  </a:lnTo>
                  <a:lnTo>
                    <a:pt x="10" y="30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0" y="21"/>
                  </a:lnTo>
                  <a:lnTo>
                    <a:pt x="15" y="25"/>
                  </a:lnTo>
                  <a:lnTo>
                    <a:pt x="24" y="25"/>
                  </a:lnTo>
                  <a:lnTo>
                    <a:pt x="33" y="30"/>
                  </a:lnTo>
                  <a:lnTo>
                    <a:pt x="33" y="25"/>
                  </a:lnTo>
                  <a:lnTo>
                    <a:pt x="42" y="21"/>
                  </a:lnTo>
                  <a:lnTo>
                    <a:pt x="51" y="21"/>
                  </a:lnTo>
                  <a:lnTo>
                    <a:pt x="56" y="17"/>
                  </a:lnTo>
                  <a:lnTo>
                    <a:pt x="65" y="17"/>
                  </a:lnTo>
                  <a:lnTo>
                    <a:pt x="75" y="5"/>
                  </a:lnTo>
                  <a:lnTo>
                    <a:pt x="7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7" name="Freeform 132">
              <a:extLst>
                <a:ext uri="{FF2B5EF4-FFF2-40B4-BE49-F238E27FC236}">
                  <a16:creationId xmlns:a16="http://schemas.microsoft.com/office/drawing/2014/main" id="{1912FFD1-E865-5D65-BFA6-F979E78C8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6028" y="1166919"/>
              <a:ext cx="827938" cy="776956"/>
            </a:xfrm>
            <a:custGeom>
              <a:avLst/>
              <a:gdLst>
                <a:gd name="T0" fmla="*/ 0 w 208"/>
                <a:gd name="T1" fmla="*/ 7065454 h 201"/>
                <a:gd name="T2" fmla="*/ 4999075 w 208"/>
                <a:gd name="T3" fmla="*/ 5636259 h 201"/>
                <a:gd name="T4" fmla="*/ 8267031 w 208"/>
                <a:gd name="T5" fmla="*/ 4204649 h 201"/>
                <a:gd name="T6" fmla="*/ 15802759 w 208"/>
                <a:gd name="T7" fmla="*/ 1431609 h 201"/>
                <a:gd name="T8" fmla="*/ 23996065 w 208"/>
                <a:gd name="T9" fmla="*/ 0 h 201"/>
                <a:gd name="T10" fmla="*/ 25815218 w 208"/>
                <a:gd name="T11" fmla="*/ 4204649 h 201"/>
                <a:gd name="T12" fmla="*/ 30535695 w 208"/>
                <a:gd name="T13" fmla="*/ 5636259 h 201"/>
                <a:gd name="T14" fmla="*/ 34082855 w 208"/>
                <a:gd name="T15" fmla="*/ 13700044 h 201"/>
                <a:gd name="T16" fmla="*/ 37350819 w 208"/>
                <a:gd name="T17" fmla="*/ 19322106 h 201"/>
                <a:gd name="T18" fmla="*/ 40533753 w 208"/>
                <a:gd name="T19" fmla="*/ 22891316 h 201"/>
                <a:gd name="T20" fmla="*/ 38729144 w 208"/>
                <a:gd name="T21" fmla="*/ 24320506 h 201"/>
                <a:gd name="T22" fmla="*/ 45547227 w 208"/>
                <a:gd name="T23" fmla="*/ 21114343 h 201"/>
                <a:gd name="T24" fmla="*/ 47348966 w 208"/>
                <a:gd name="T25" fmla="*/ 22891316 h 201"/>
                <a:gd name="T26" fmla="*/ 45547227 w 208"/>
                <a:gd name="T27" fmla="*/ 24320506 h 201"/>
                <a:gd name="T28" fmla="*/ 48800766 w 208"/>
                <a:gd name="T29" fmla="*/ 24320506 h 201"/>
                <a:gd name="T30" fmla="*/ 50617504 w 208"/>
                <a:gd name="T31" fmla="*/ 26027417 h 201"/>
                <a:gd name="T32" fmla="*/ 52362371 w 208"/>
                <a:gd name="T33" fmla="*/ 26027417 h 201"/>
                <a:gd name="T34" fmla="*/ 55615989 w 208"/>
                <a:gd name="T35" fmla="*/ 24320506 h 201"/>
                <a:gd name="T36" fmla="*/ 53814883 w 208"/>
                <a:gd name="T37" fmla="*/ 29233461 h 201"/>
                <a:gd name="T38" fmla="*/ 57435656 w 208"/>
                <a:gd name="T39" fmla="*/ 26027417 h 201"/>
                <a:gd name="T40" fmla="*/ 62434695 w 208"/>
                <a:gd name="T41" fmla="*/ 22891316 h 201"/>
                <a:gd name="T42" fmla="*/ 67080866 w 208"/>
                <a:gd name="T43" fmla="*/ 16906819 h 201"/>
                <a:gd name="T44" fmla="*/ 67812881 w 208"/>
                <a:gd name="T45" fmla="*/ 16906819 h 201"/>
                <a:gd name="T46" fmla="*/ 73179035 w 208"/>
                <a:gd name="T47" fmla="*/ 21114343 h 201"/>
                <a:gd name="T48" fmla="*/ 74630993 w 208"/>
                <a:gd name="T49" fmla="*/ 26027417 h 201"/>
                <a:gd name="T50" fmla="*/ 71362336 w 208"/>
                <a:gd name="T51" fmla="*/ 33092745 h 201"/>
                <a:gd name="T52" fmla="*/ 67080866 w 208"/>
                <a:gd name="T53" fmla="*/ 39798011 h 201"/>
                <a:gd name="T54" fmla="*/ 63533746 w 208"/>
                <a:gd name="T55" fmla="*/ 45071235 h 201"/>
                <a:gd name="T56" fmla="*/ 58813249 w 208"/>
                <a:gd name="T57" fmla="*/ 52066560 h 201"/>
                <a:gd name="T58" fmla="*/ 57435656 w 208"/>
                <a:gd name="T59" fmla="*/ 55275585 h 201"/>
                <a:gd name="T60" fmla="*/ 57435656 w 208"/>
                <a:gd name="T61" fmla="*/ 58411726 h 201"/>
                <a:gd name="T62" fmla="*/ 53814883 w 208"/>
                <a:gd name="T63" fmla="*/ 65822408 h 201"/>
                <a:gd name="T64" fmla="*/ 12181887 w 208"/>
                <a:gd name="T65" fmla="*/ 69321630 h 201"/>
                <a:gd name="T66" fmla="*/ 9719582 w 208"/>
                <a:gd name="T67" fmla="*/ 65822408 h 201"/>
                <a:gd name="T68" fmla="*/ 7899925 w 208"/>
                <a:gd name="T69" fmla="*/ 60189152 h 201"/>
                <a:gd name="T70" fmla="*/ 2903883 w 208"/>
                <a:gd name="T71" fmla="*/ 53844026 h 201"/>
                <a:gd name="T72" fmla="*/ 13633825 w 208"/>
                <a:gd name="T73" fmla="*/ 27816747 h 201"/>
                <a:gd name="T74" fmla="*/ 10086668 w 208"/>
                <a:gd name="T75" fmla="*/ 24609973 h 201"/>
                <a:gd name="T76" fmla="*/ 4999075 w 208"/>
                <a:gd name="T77" fmla="*/ 22891316 h 2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8"/>
                <a:gd name="T118" fmla="*/ 0 h 201"/>
                <a:gd name="T119" fmla="*/ 208 w 208"/>
                <a:gd name="T120" fmla="*/ 201 h 2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8" h="201">
                  <a:moveTo>
                    <a:pt x="0" y="48"/>
                  </a:moveTo>
                  <a:lnTo>
                    <a:pt x="0" y="20"/>
                  </a:lnTo>
                  <a:lnTo>
                    <a:pt x="9" y="16"/>
                  </a:lnTo>
                  <a:lnTo>
                    <a:pt x="14" y="16"/>
                  </a:lnTo>
                  <a:lnTo>
                    <a:pt x="18" y="16"/>
                  </a:lnTo>
                  <a:lnTo>
                    <a:pt x="23" y="12"/>
                  </a:lnTo>
                  <a:cubicBezTo>
                    <a:pt x="31" y="12"/>
                    <a:pt x="40" y="12"/>
                    <a:pt x="49" y="12"/>
                  </a:cubicBezTo>
                  <a:lnTo>
                    <a:pt x="44" y="4"/>
                  </a:lnTo>
                  <a:lnTo>
                    <a:pt x="44" y="0"/>
                  </a:lnTo>
                  <a:lnTo>
                    <a:pt x="67" y="0"/>
                  </a:lnTo>
                  <a:lnTo>
                    <a:pt x="67" y="11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5" y="16"/>
                  </a:lnTo>
                  <a:lnTo>
                    <a:pt x="95" y="25"/>
                  </a:lnTo>
                  <a:lnTo>
                    <a:pt x="95" y="39"/>
                  </a:lnTo>
                  <a:lnTo>
                    <a:pt x="100" y="44"/>
                  </a:lnTo>
                  <a:lnTo>
                    <a:pt x="104" y="55"/>
                  </a:lnTo>
                  <a:lnTo>
                    <a:pt x="113" y="60"/>
                  </a:lnTo>
                  <a:lnTo>
                    <a:pt x="113" y="65"/>
                  </a:lnTo>
                  <a:lnTo>
                    <a:pt x="100" y="65"/>
                  </a:lnTo>
                  <a:lnTo>
                    <a:pt x="108" y="69"/>
                  </a:lnTo>
                  <a:lnTo>
                    <a:pt x="122" y="60"/>
                  </a:lnTo>
                  <a:lnTo>
                    <a:pt x="127" y="60"/>
                  </a:lnTo>
                  <a:lnTo>
                    <a:pt x="132" y="60"/>
                  </a:lnTo>
                  <a:lnTo>
                    <a:pt x="132" y="65"/>
                  </a:lnTo>
                  <a:lnTo>
                    <a:pt x="132" y="69"/>
                  </a:lnTo>
                  <a:lnTo>
                    <a:pt x="127" y="69"/>
                  </a:lnTo>
                  <a:lnTo>
                    <a:pt x="132" y="74"/>
                  </a:lnTo>
                  <a:lnTo>
                    <a:pt x="136" y="69"/>
                  </a:lnTo>
                  <a:lnTo>
                    <a:pt x="136" y="74"/>
                  </a:lnTo>
                  <a:lnTo>
                    <a:pt x="141" y="74"/>
                  </a:lnTo>
                  <a:lnTo>
                    <a:pt x="146" y="69"/>
                  </a:lnTo>
                  <a:lnTo>
                    <a:pt x="146" y="74"/>
                  </a:lnTo>
                  <a:lnTo>
                    <a:pt x="150" y="74"/>
                  </a:lnTo>
                  <a:lnTo>
                    <a:pt x="155" y="69"/>
                  </a:lnTo>
                  <a:lnTo>
                    <a:pt x="155" y="74"/>
                  </a:lnTo>
                  <a:lnTo>
                    <a:pt x="150" y="83"/>
                  </a:lnTo>
                  <a:lnTo>
                    <a:pt x="155" y="83"/>
                  </a:lnTo>
                  <a:lnTo>
                    <a:pt x="160" y="74"/>
                  </a:lnTo>
                  <a:lnTo>
                    <a:pt x="169" y="65"/>
                  </a:lnTo>
                  <a:lnTo>
                    <a:pt x="174" y="65"/>
                  </a:lnTo>
                  <a:lnTo>
                    <a:pt x="178" y="55"/>
                  </a:lnTo>
                  <a:lnTo>
                    <a:pt x="187" y="48"/>
                  </a:lnTo>
                  <a:lnTo>
                    <a:pt x="187" y="55"/>
                  </a:lnTo>
                  <a:lnTo>
                    <a:pt x="189" y="48"/>
                  </a:lnTo>
                  <a:lnTo>
                    <a:pt x="199" y="55"/>
                  </a:lnTo>
                  <a:lnTo>
                    <a:pt x="204" y="60"/>
                  </a:lnTo>
                  <a:lnTo>
                    <a:pt x="208" y="60"/>
                  </a:lnTo>
                  <a:lnTo>
                    <a:pt x="208" y="74"/>
                  </a:lnTo>
                  <a:lnTo>
                    <a:pt x="199" y="83"/>
                  </a:lnTo>
                  <a:lnTo>
                    <a:pt x="199" y="94"/>
                  </a:lnTo>
                  <a:lnTo>
                    <a:pt x="194" y="99"/>
                  </a:lnTo>
                  <a:lnTo>
                    <a:pt x="187" y="113"/>
                  </a:lnTo>
                  <a:lnTo>
                    <a:pt x="172" y="123"/>
                  </a:lnTo>
                  <a:lnTo>
                    <a:pt x="177" y="128"/>
                  </a:lnTo>
                  <a:lnTo>
                    <a:pt x="173" y="143"/>
                  </a:lnTo>
                  <a:lnTo>
                    <a:pt x="164" y="148"/>
                  </a:lnTo>
                  <a:lnTo>
                    <a:pt x="160" y="153"/>
                  </a:lnTo>
                  <a:lnTo>
                    <a:pt x="160" y="157"/>
                  </a:lnTo>
                  <a:lnTo>
                    <a:pt x="155" y="162"/>
                  </a:lnTo>
                  <a:lnTo>
                    <a:pt x="160" y="166"/>
                  </a:lnTo>
                  <a:lnTo>
                    <a:pt x="155" y="178"/>
                  </a:lnTo>
                  <a:lnTo>
                    <a:pt x="150" y="187"/>
                  </a:lnTo>
                  <a:lnTo>
                    <a:pt x="141" y="201"/>
                  </a:lnTo>
                  <a:lnTo>
                    <a:pt x="34" y="197"/>
                  </a:lnTo>
                  <a:lnTo>
                    <a:pt x="29" y="192"/>
                  </a:lnTo>
                  <a:lnTo>
                    <a:pt x="27" y="187"/>
                  </a:lnTo>
                  <a:lnTo>
                    <a:pt x="22" y="183"/>
                  </a:lnTo>
                  <a:lnTo>
                    <a:pt x="22" y="171"/>
                  </a:lnTo>
                  <a:lnTo>
                    <a:pt x="14" y="162"/>
                  </a:lnTo>
                  <a:lnTo>
                    <a:pt x="8" y="153"/>
                  </a:lnTo>
                  <a:lnTo>
                    <a:pt x="21" y="122"/>
                  </a:lnTo>
                  <a:lnTo>
                    <a:pt x="38" y="79"/>
                  </a:lnTo>
                  <a:lnTo>
                    <a:pt x="34" y="74"/>
                  </a:lnTo>
                  <a:lnTo>
                    <a:pt x="28" y="70"/>
                  </a:lnTo>
                  <a:lnTo>
                    <a:pt x="23" y="71"/>
                  </a:lnTo>
                  <a:lnTo>
                    <a:pt x="14" y="65"/>
                  </a:lnTo>
                  <a:lnTo>
                    <a:pt x="0" y="4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" name="Freeform 133">
              <a:extLst>
                <a:ext uri="{FF2B5EF4-FFF2-40B4-BE49-F238E27FC236}">
                  <a16:creationId xmlns:a16="http://schemas.microsoft.com/office/drawing/2014/main" id="{F5B907F7-9458-996C-ED47-277EB04F6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3961" y="1058051"/>
              <a:ext cx="312991" cy="341485"/>
            </a:xfrm>
            <a:custGeom>
              <a:avLst/>
              <a:gdLst>
                <a:gd name="T0" fmla="*/ 17617651 w 79"/>
                <a:gd name="T1" fmla="*/ 0 h 88"/>
                <a:gd name="T2" fmla="*/ 20712233 w 79"/>
                <a:gd name="T3" fmla="*/ 1463107 h 88"/>
                <a:gd name="T4" fmla="*/ 22463560 w 79"/>
                <a:gd name="T5" fmla="*/ 9822049 h 88"/>
                <a:gd name="T6" fmla="*/ 22463560 w 79"/>
                <a:gd name="T7" fmla="*/ 11655747 h 88"/>
                <a:gd name="T8" fmla="*/ 23861497 w 79"/>
                <a:gd name="T9" fmla="*/ 11655747 h 88"/>
                <a:gd name="T10" fmla="*/ 23861497 w 79"/>
                <a:gd name="T11" fmla="*/ 14509475 h 88"/>
                <a:gd name="T12" fmla="*/ 27297656 w 79"/>
                <a:gd name="T13" fmla="*/ 15975624 h 88"/>
                <a:gd name="T14" fmla="*/ 27297656 w 79"/>
                <a:gd name="T15" fmla="*/ 17808706 h 88"/>
                <a:gd name="T16" fmla="*/ 25543473 w 79"/>
                <a:gd name="T17" fmla="*/ 21033019 h 88"/>
                <a:gd name="T18" fmla="*/ 23861497 w 79"/>
                <a:gd name="T19" fmla="*/ 22498553 h 88"/>
                <a:gd name="T20" fmla="*/ 20712233 w 79"/>
                <a:gd name="T21" fmla="*/ 24332250 h 88"/>
                <a:gd name="T22" fmla="*/ 20712233 w 79"/>
                <a:gd name="T23" fmla="*/ 25797665 h 88"/>
                <a:gd name="T24" fmla="*/ 19371843 w 79"/>
                <a:gd name="T25" fmla="*/ 27630767 h 88"/>
                <a:gd name="T26" fmla="*/ 17617651 w 79"/>
                <a:gd name="T27" fmla="*/ 28001347 h 88"/>
                <a:gd name="T28" fmla="*/ 17261376 w 79"/>
                <a:gd name="T29" fmla="*/ 30115134 h 88"/>
                <a:gd name="T30" fmla="*/ 15935694 w 79"/>
                <a:gd name="T31" fmla="*/ 31951268 h 88"/>
                <a:gd name="T32" fmla="*/ 12771727 w 79"/>
                <a:gd name="T33" fmla="*/ 30115134 h 88"/>
                <a:gd name="T34" fmla="*/ 11373799 w 79"/>
                <a:gd name="T35" fmla="*/ 26535199 h 88"/>
                <a:gd name="T36" fmla="*/ 9691840 w 79"/>
                <a:gd name="T37" fmla="*/ 24332250 h 88"/>
                <a:gd name="T38" fmla="*/ 9335566 w 79"/>
                <a:gd name="T39" fmla="*/ 19274736 h 88"/>
                <a:gd name="T40" fmla="*/ 6243849 w 79"/>
                <a:gd name="T41" fmla="*/ 15975624 h 88"/>
                <a:gd name="T42" fmla="*/ 3094574 w 79"/>
                <a:gd name="T43" fmla="*/ 15975624 h 88"/>
                <a:gd name="T44" fmla="*/ 1754193 w 79"/>
                <a:gd name="T45" fmla="*/ 14509475 h 88"/>
                <a:gd name="T46" fmla="*/ 0 w 79"/>
                <a:gd name="T47" fmla="*/ 14142542 h 88"/>
                <a:gd name="T48" fmla="*/ 0 w 79"/>
                <a:gd name="T49" fmla="*/ 10192643 h 88"/>
                <a:gd name="T50" fmla="*/ 1754193 w 79"/>
                <a:gd name="T51" fmla="*/ 10192643 h 88"/>
                <a:gd name="T52" fmla="*/ 3094574 w 79"/>
                <a:gd name="T53" fmla="*/ 11655747 h 88"/>
                <a:gd name="T54" fmla="*/ 4845910 w 79"/>
                <a:gd name="T55" fmla="*/ 11655747 h 88"/>
                <a:gd name="T56" fmla="*/ 4845910 w 79"/>
                <a:gd name="T57" fmla="*/ 10192643 h 88"/>
                <a:gd name="T58" fmla="*/ 6243849 w 79"/>
                <a:gd name="T59" fmla="*/ 11655747 h 88"/>
                <a:gd name="T60" fmla="*/ 8282065 w 79"/>
                <a:gd name="T61" fmla="*/ 10192643 h 88"/>
                <a:gd name="T62" fmla="*/ 9691840 w 79"/>
                <a:gd name="T63" fmla="*/ 11655747 h 88"/>
                <a:gd name="T64" fmla="*/ 11373799 w 79"/>
                <a:gd name="T65" fmla="*/ 11655747 h 88"/>
                <a:gd name="T66" fmla="*/ 12771727 w 79"/>
                <a:gd name="T67" fmla="*/ 10192643 h 88"/>
                <a:gd name="T68" fmla="*/ 15935694 w 79"/>
                <a:gd name="T69" fmla="*/ 3299113 h 88"/>
                <a:gd name="T70" fmla="*/ 17617651 w 79"/>
                <a:gd name="T71" fmla="*/ 1463107 h 88"/>
                <a:gd name="T72" fmla="*/ 17617651 w 79"/>
                <a:gd name="T73" fmla="*/ 0 h 8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9"/>
                <a:gd name="T112" fmla="*/ 0 h 88"/>
                <a:gd name="T113" fmla="*/ 79 w 79"/>
                <a:gd name="T114" fmla="*/ 88 h 8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9" h="88">
                  <a:moveTo>
                    <a:pt x="51" y="0"/>
                  </a:moveTo>
                  <a:lnTo>
                    <a:pt x="60" y="4"/>
                  </a:lnTo>
                  <a:lnTo>
                    <a:pt x="65" y="27"/>
                  </a:lnTo>
                  <a:lnTo>
                    <a:pt x="65" y="32"/>
                  </a:lnTo>
                  <a:lnTo>
                    <a:pt x="69" y="32"/>
                  </a:lnTo>
                  <a:lnTo>
                    <a:pt x="69" y="40"/>
                  </a:lnTo>
                  <a:lnTo>
                    <a:pt x="79" y="44"/>
                  </a:lnTo>
                  <a:lnTo>
                    <a:pt x="79" y="49"/>
                  </a:lnTo>
                  <a:lnTo>
                    <a:pt x="74" y="58"/>
                  </a:lnTo>
                  <a:lnTo>
                    <a:pt x="69" y="62"/>
                  </a:lnTo>
                  <a:lnTo>
                    <a:pt x="60" y="67"/>
                  </a:lnTo>
                  <a:lnTo>
                    <a:pt x="60" y="71"/>
                  </a:lnTo>
                  <a:lnTo>
                    <a:pt x="56" y="76"/>
                  </a:lnTo>
                  <a:lnTo>
                    <a:pt x="51" y="77"/>
                  </a:lnTo>
                  <a:lnTo>
                    <a:pt x="50" y="83"/>
                  </a:lnTo>
                  <a:lnTo>
                    <a:pt x="46" y="88"/>
                  </a:lnTo>
                  <a:lnTo>
                    <a:pt x="37" y="83"/>
                  </a:lnTo>
                  <a:lnTo>
                    <a:pt x="33" y="73"/>
                  </a:lnTo>
                  <a:lnTo>
                    <a:pt x="28" y="67"/>
                  </a:lnTo>
                  <a:lnTo>
                    <a:pt x="27" y="53"/>
                  </a:lnTo>
                  <a:lnTo>
                    <a:pt x="18" y="44"/>
                  </a:lnTo>
                  <a:lnTo>
                    <a:pt x="9" y="44"/>
                  </a:lnTo>
                  <a:lnTo>
                    <a:pt x="5" y="40"/>
                  </a:lnTo>
                  <a:lnTo>
                    <a:pt x="0" y="39"/>
                  </a:lnTo>
                  <a:lnTo>
                    <a:pt x="0" y="28"/>
                  </a:lnTo>
                  <a:lnTo>
                    <a:pt x="5" y="28"/>
                  </a:lnTo>
                  <a:lnTo>
                    <a:pt x="9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8" y="32"/>
                  </a:lnTo>
                  <a:lnTo>
                    <a:pt x="24" y="28"/>
                  </a:lnTo>
                  <a:lnTo>
                    <a:pt x="28" y="32"/>
                  </a:lnTo>
                  <a:lnTo>
                    <a:pt x="33" y="32"/>
                  </a:lnTo>
                  <a:lnTo>
                    <a:pt x="37" y="28"/>
                  </a:lnTo>
                  <a:lnTo>
                    <a:pt x="46" y="9"/>
                  </a:lnTo>
                  <a:lnTo>
                    <a:pt x="51" y="4"/>
                  </a:lnTo>
                  <a:lnTo>
                    <a:pt x="51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Freeform 134">
              <a:extLst>
                <a:ext uri="{FF2B5EF4-FFF2-40B4-BE49-F238E27FC236}">
                  <a16:creationId xmlns:a16="http://schemas.microsoft.com/office/drawing/2014/main" id="{4D0853D7-6252-4A3C-D080-3B58EC2C8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502" y="1185717"/>
              <a:ext cx="1116791" cy="777739"/>
            </a:xfrm>
            <a:custGeom>
              <a:avLst/>
              <a:gdLst>
                <a:gd name="T0" fmla="*/ 1437642 w 281"/>
                <a:gd name="T1" fmla="*/ 55740166 h 201"/>
                <a:gd name="T2" fmla="*/ 2875896 w 281"/>
                <a:gd name="T3" fmla="*/ 52497315 h 201"/>
                <a:gd name="T4" fmla="*/ 4225462 w 281"/>
                <a:gd name="T5" fmla="*/ 47903353 h 201"/>
                <a:gd name="T6" fmla="*/ 14205492 w 281"/>
                <a:gd name="T7" fmla="*/ 41870973 h 201"/>
                <a:gd name="T8" fmla="*/ 20871668 w 281"/>
                <a:gd name="T9" fmla="*/ 40081509 h 201"/>
                <a:gd name="T10" fmla="*/ 24458851 w 281"/>
                <a:gd name="T11" fmla="*/ 23056969 h 201"/>
                <a:gd name="T12" fmla="*/ 22309319 w 281"/>
                <a:gd name="T13" fmla="*/ 19887991 h 201"/>
                <a:gd name="T14" fmla="*/ 19521500 w 281"/>
                <a:gd name="T15" fmla="*/ 12065524 h 201"/>
                <a:gd name="T16" fmla="*/ 24823169 w 281"/>
                <a:gd name="T17" fmla="*/ 12065524 h 201"/>
                <a:gd name="T18" fmla="*/ 21235986 w 281"/>
                <a:gd name="T19" fmla="*/ 9187749 h 201"/>
                <a:gd name="T20" fmla="*/ 30851216 w 281"/>
                <a:gd name="T21" fmla="*/ 5670910 h 201"/>
                <a:gd name="T22" fmla="*/ 31213123 w 281"/>
                <a:gd name="T23" fmla="*/ 4593924 h 201"/>
                <a:gd name="T24" fmla="*/ 35802768 w 281"/>
                <a:gd name="T25" fmla="*/ 2516168 h 201"/>
                <a:gd name="T26" fmla="*/ 37588120 w 281"/>
                <a:gd name="T27" fmla="*/ 7471604 h 201"/>
                <a:gd name="T28" fmla="*/ 41466487 w 281"/>
                <a:gd name="T29" fmla="*/ 10626347 h 201"/>
                <a:gd name="T30" fmla="*/ 44982936 w 281"/>
                <a:gd name="T31" fmla="*/ 8910782 h 201"/>
                <a:gd name="T32" fmla="*/ 46056151 w 281"/>
                <a:gd name="T33" fmla="*/ 10991435 h 201"/>
                <a:gd name="T34" fmla="*/ 48570752 w 281"/>
                <a:gd name="T35" fmla="*/ 7471604 h 201"/>
                <a:gd name="T36" fmla="*/ 58112047 w 281"/>
                <a:gd name="T37" fmla="*/ 0 h 201"/>
                <a:gd name="T38" fmla="*/ 64502021 w 281"/>
                <a:gd name="T39" fmla="*/ 13854870 h 201"/>
                <a:gd name="T40" fmla="*/ 63428727 w 281"/>
                <a:gd name="T41" fmla="*/ 18463140 h 201"/>
                <a:gd name="T42" fmla="*/ 69441758 w 281"/>
                <a:gd name="T43" fmla="*/ 21256270 h 201"/>
                <a:gd name="T44" fmla="*/ 72679620 w 281"/>
                <a:gd name="T45" fmla="*/ 15585367 h 201"/>
                <a:gd name="T46" fmla="*/ 77981244 w 281"/>
                <a:gd name="T47" fmla="*/ 13854870 h 201"/>
                <a:gd name="T48" fmla="*/ 79345060 w 281"/>
                <a:gd name="T49" fmla="*/ 12065524 h 201"/>
                <a:gd name="T50" fmla="*/ 86085007 w 281"/>
                <a:gd name="T51" fmla="*/ 10626347 h 201"/>
                <a:gd name="T52" fmla="*/ 91039681 w 281"/>
                <a:gd name="T53" fmla="*/ 21256270 h 201"/>
                <a:gd name="T54" fmla="*/ 96426422 w 281"/>
                <a:gd name="T55" fmla="*/ 23422175 h 201"/>
                <a:gd name="T56" fmla="*/ 99578534 w 281"/>
                <a:gd name="T57" fmla="*/ 26650126 h 201"/>
                <a:gd name="T58" fmla="*/ 90748527 w 281"/>
                <a:gd name="T59" fmla="*/ 55740166 h 201"/>
                <a:gd name="T60" fmla="*/ 88960823 w 281"/>
                <a:gd name="T61" fmla="*/ 62776216 h 201"/>
                <a:gd name="T62" fmla="*/ 65925348 w 281"/>
                <a:gd name="T63" fmla="*/ 63141442 h 201"/>
                <a:gd name="T64" fmla="*/ 57747749 w 281"/>
                <a:gd name="T65" fmla="*/ 59260029 h 201"/>
                <a:gd name="T66" fmla="*/ 56674455 w 281"/>
                <a:gd name="T67" fmla="*/ 62414744 h 201"/>
                <a:gd name="T68" fmla="*/ 54233710 w 281"/>
                <a:gd name="T69" fmla="*/ 64927893 h 201"/>
                <a:gd name="T70" fmla="*/ 47132488 w 281"/>
                <a:gd name="T71" fmla="*/ 68809385 h 201"/>
                <a:gd name="T72" fmla="*/ 43269049 w 281"/>
                <a:gd name="T73" fmla="*/ 68447163 h 201"/>
                <a:gd name="T74" fmla="*/ 19868589 w 281"/>
                <a:gd name="T75" fmla="*/ 63141442 h 2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1"/>
                <a:gd name="T115" fmla="*/ 0 h 201"/>
                <a:gd name="T116" fmla="*/ 281 w 281"/>
                <a:gd name="T117" fmla="*/ 201 h 20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1" h="201">
                  <a:moveTo>
                    <a:pt x="0" y="161"/>
                  </a:moveTo>
                  <a:lnTo>
                    <a:pt x="4" y="157"/>
                  </a:lnTo>
                  <a:lnTo>
                    <a:pt x="9" y="154"/>
                  </a:lnTo>
                  <a:lnTo>
                    <a:pt x="8" y="148"/>
                  </a:lnTo>
                  <a:lnTo>
                    <a:pt x="12" y="140"/>
                  </a:lnTo>
                  <a:lnTo>
                    <a:pt x="12" y="135"/>
                  </a:lnTo>
                  <a:lnTo>
                    <a:pt x="25" y="117"/>
                  </a:lnTo>
                  <a:lnTo>
                    <a:pt x="40" y="118"/>
                  </a:lnTo>
                  <a:lnTo>
                    <a:pt x="45" y="114"/>
                  </a:lnTo>
                  <a:lnTo>
                    <a:pt x="59" y="113"/>
                  </a:lnTo>
                  <a:lnTo>
                    <a:pt x="59" y="110"/>
                  </a:lnTo>
                  <a:lnTo>
                    <a:pt x="69" y="65"/>
                  </a:lnTo>
                  <a:lnTo>
                    <a:pt x="64" y="61"/>
                  </a:lnTo>
                  <a:lnTo>
                    <a:pt x="63" y="56"/>
                  </a:lnTo>
                  <a:lnTo>
                    <a:pt x="55" y="45"/>
                  </a:lnTo>
                  <a:lnTo>
                    <a:pt x="55" y="34"/>
                  </a:lnTo>
                  <a:lnTo>
                    <a:pt x="65" y="30"/>
                  </a:lnTo>
                  <a:lnTo>
                    <a:pt x="70" y="34"/>
                  </a:lnTo>
                  <a:lnTo>
                    <a:pt x="69" y="26"/>
                  </a:lnTo>
                  <a:lnTo>
                    <a:pt x="60" y="26"/>
                  </a:lnTo>
                  <a:lnTo>
                    <a:pt x="59" y="16"/>
                  </a:lnTo>
                  <a:lnTo>
                    <a:pt x="87" y="16"/>
                  </a:lnTo>
                  <a:lnTo>
                    <a:pt x="85" y="12"/>
                  </a:lnTo>
                  <a:lnTo>
                    <a:pt x="88" y="13"/>
                  </a:lnTo>
                  <a:lnTo>
                    <a:pt x="92" y="15"/>
                  </a:lnTo>
                  <a:lnTo>
                    <a:pt x="101" y="7"/>
                  </a:lnTo>
                  <a:lnTo>
                    <a:pt x="102" y="14"/>
                  </a:lnTo>
                  <a:lnTo>
                    <a:pt x="106" y="21"/>
                  </a:lnTo>
                  <a:lnTo>
                    <a:pt x="111" y="22"/>
                  </a:lnTo>
                  <a:lnTo>
                    <a:pt x="117" y="30"/>
                  </a:lnTo>
                  <a:lnTo>
                    <a:pt x="122" y="27"/>
                  </a:lnTo>
                  <a:lnTo>
                    <a:pt x="127" y="25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45" y="21"/>
                  </a:lnTo>
                  <a:lnTo>
                    <a:pt x="164" y="0"/>
                  </a:lnTo>
                  <a:lnTo>
                    <a:pt x="173" y="7"/>
                  </a:lnTo>
                  <a:lnTo>
                    <a:pt x="182" y="39"/>
                  </a:lnTo>
                  <a:lnTo>
                    <a:pt x="182" y="51"/>
                  </a:lnTo>
                  <a:lnTo>
                    <a:pt x="179" y="52"/>
                  </a:lnTo>
                  <a:lnTo>
                    <a:pt x="192" y="60"/>
                  </a:lnTo>
                  <a:lnTo>
                    <a:pt x="196" y="60"/>
                  </a:lnTo>
                  <a:lnTo>
                    <a:pt x="196" y="51"/>
                  </a:lnTo>
                  <a:lnTo>
                    <a:pt x="205" y="44"/>
                  </a:lnTo>
                  <a:lnTo>
                    <a:pt x="210" y="51"/>
                  </a:lnTo>
                  <a:lnTo>
                    <a:pt x="220" y="39"/>
                  </a:lnTo>
                  <a:lnTo>
                    <a:pt x="224" y="39"/>
                  </a:lnTo>
                  <a:lnTo>
                    <a:pt x="224" y="34"/>
                  </a:lnTo>
                  <a:lnTo>
                    <a:pt x="229" y="30"/>
                  </a:lnTo>
                  <a:lnTo>
                    <a:pt x="243" y="30"/>
                  </a:lnTo>
                  <a:lnTo>
                    <a:pt x="243" y="43"/>
                  </a:lnTo>
                  <a:lnTo>
                    <a:pt x="257" y="60"/>
                  </a:lnTo>
                  <a:lnTo>
                    <a:pt x="266" y="66"/>
                  </a:lnTo>
                  <a:lnTo>
                    <a:pt x="272" y="66"/>
                  </a:lnTo>
                  <a:lnTo>
                    <a:pt x="279" y="70"/>
                  </a:lnTo>
                  <a:lnTo>
                    <a:pt x="281" y="75"/>
                  </a:lnTo>
                  <a:lnTo>
                    <a:pt x="251" y="148"/>
                  </a:lnTo>
                  <a:lnTo>
                    <a:pt x="256" y="157"/>
                  </a:lnTo>
                  <a:lnTo>
                    <a:pt x="251" y="161"/>
                  </a:lnTo>
                  <a:lnTo>
                    <a:pt x="251" y="177"/>
                  </a:lnTo>
                  <a:lnTo>
                    <a:pt x="201" y="183"/>
                  </a:lnTo>
                  <a:lnTo>
                    <a:pt x="186" y="178"/>
                  </a:lnTo>
                  <a:lnTo>
                    <a:pt x="178" y="167"/>
                  </a:lnTo>
                  <a:lnTo>
                    <a:pt x="163" y="167"/>
                  </a:lnTo>
                  <a:lnTo>
                    <a:pt x="164" y="173"/>
                  </a:lnTo>
                  <a:lnTo>
                    <a:pt x="160" y="176"/>
                  </a:lnTo>
                  <a:lnTo>
                    <a:pt x="159" y="183"/>
                  </a:lnTo>
                  <a:lnTo>
                    <a:pt x="153" y="183"/>
                  </a:lnTo>
                  <a:lnTo>
                    <a:pt x="140" y="191"/>
                  </a:lnTo>
                  <a:lnTo>
                    <a:pt x="133" y="194"/>
                  </a:lnTo>
                  <a:lnTo>
                    <a:pt x="127" y="193"/>
                  </a:lnTo>
                  <a:lnTo>
                    <a:pt x="122" y="193"/>
                  </a:lnTo>
                  <a:lnTo>
                    <a:pt x="115" y="201"/>
                  </a:lnTo>
                  <a:lnTo>
                    <a:pt x="56" y="178"/>
                  </a:lnTo>
                  <a:lnTo>
                    <a:pt x="0" y="16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" name="Freeform 135">
              <a:extLst>
                <a:ext uri="{FF2B5EF4-FFF2-40B4-BE49-F238E27FC236}">
                  <a16:creationId xmlns:a16="http://schemas.microsoft.com/office/drawing/2014/main" id="{CAB6C089-D52E-E1A5-A0B1-E8A0928AF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0407" y="1723007"/>
              <a:ext cx="230921" cy="155078"/>
            </a:xfrm>
            <a:custGeom>
              <a:avLst/>
              <a:gdLst>
                <a:gd name="T0" fmla="*/ 0 w 58"/>
                <a:gd name="T1" fmla="*/ 3281058 h 40"/>
                <a:gd name="T2" fmla="*/ 3272310 w 58"/>
                <a:gd name="T3" fmla="*/ 3281058 h 40"/>
                <a:gd name="T4" fmla="*/ 5004894 w 58"/>
                <a:gd name="T5" fmla="*/ 1824530 h 40"/>
                <a:gd name="T6" fmla="*/ 7558972 w 58"/>
                <a:gd name="T7" fmla="*/ 0 h 40"/>
                <a:gd name="T8" fmla="*/ 7558972 w 58"/>
                <a:gd name="T9" fmla="*/ 1824530 h 40"/>
                <a:gd name="T10" fmla="*/ 5740585 w 58"/>
                <a:gd name="T11" fmla="*/ 3281058 h 40"/>
                <a:gd name="T12" fmla="*/ 5740585 w 58"/>
                <a:gd name="T13" fmla="*/ 5031120 h 40"/>
                <a:gd name="T14" fmla="*/ 9012770 w 58"/>
                <a:gd name="T15" fmla="*/ 5031120 h 40"/>
                <a:gd name="T16" fmla="*/ 10745510 w 58"/>
                <a:gd name="T17" fmla="*/ 6487648 h 40"/>
                <a:gd name="T18" fmla="*/ 10745510 w 58"/>
                <a:gd name="T19" fmla="*/ 5031120 h 40"/>
                <a:gd name="T20" fmla="*/ 12198818 w 58"/>
                <a:gd name="T21" fmla="*/ 3281058 h 40"/>
                <a:gd name="T22" fmla="*/ 20478954 w 58"/>
                <a:gd name="T23" fmla="*/ 3634626 h 40"/>
                <a:gd name="T24" fmla="*/ 20847011 w 58"/>
                <a:gd name="T25" fmla="*/ 9031423 h 40"/>
                <a:gd name="T26" fmla="*/ 16924945 w 58"/>
                <a:gd name="T27" fmla="*/ 10122273 h 40"/>
                <a:gd name="T28" fmla="*/ 10466714 w 58"/>
                <a:gd name="T29" fmla="*/ 12591563 h 40"/>
                <a:gd name="T30" fmla="*/ 8647716 w 58"/>
                <a:gd name="T31" fmla="*/ 14416092 h 40"/>
                <a:gd name="T32" fmla="*/ 7194408 w 58"/>
                <a:gd name="T33" fmla="*/ 14416092 h 40"/>
                <a:gd name="T34" fmla="*/ 6826320 w 58"/>
                <a:gd name="T35" fmla="*/ 12591563 h 40"/>
                <a:gd name="T36" fmla="*/ 8647716 w 58"/>
                <a:gd name="T37" fmla="*/ 8665751 h 40"/>
                <a:gd name="T38" fmla="*/ 7194408 w 58"/>
                <a:gd name="T39" fmla="*/ 8665751 h 40"/>
                <a:gd name="T40" fmla="*/ 4286667 w 58"/>
                <a:gd name="T41" fmla="*/ 10122273 h 40"/>
                <a:gd name="T42" fmla="*/ 0 w 58"/>
                <a:gd name="T43" fmla="*/ 10122273 h 40"/>
                <a:gd name="T44" fmla="*/ 0 w 58"/>
                <a:gd name="T45" fmla="*/ 3281058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8"/>
                <a:gd name="T70" fmla="*/ 0 h 40"/>
                <a:gd name="T71" fmla="*/ 58 w 58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8" h="40">
                  <a:moveTo>
                    <a:pt x="0" y="9"/>
                  </a:moveTo>
                  <a:lnTo>
                    <a:pt x="9" y="9"/>
                  </a:lnTo>
                  <a:lnTo>
                    <a:pt x="14" y="5"/>
                  </a:lnTo>
                  <a:lnTo>
                    <a:pt x="21" y="0"/>
                  </a:lnTo>
                  <a:lnTo>
                    <a:pt x="21" y="5"/>
                  </a:lnTo>
                  <a:lnTo>
                    <a:pt x="16" y="9"/>
                  </a:lnTo>
                  <a:lnTo>
                    <a:pt x="16" y="14"/>
                  </a:lnTo>
                  <a:lnTo>
                    <a:pt x="25" y="14"/>
                  </a:lnTo>
                  <a:lnTo>
                    <a:pt x="30" y="18"/>
                  </a:lnTo>
                  <a:lnTo>
                    <a:pt x="30" y="14"/>
                  </a:lnTo>
                  <a:lnTo>
                    <a:pt x="34" y="9"/>
                  </a:lnTo>
                  <a:lnTo>
                    <a:pt x="57" y="10"/>
                  </a:lnTo>
                  <a:lnTo>
                    <a:pt x="58" y="25"/>
                  </a:lnTo>
                  <a:lnTo>
                    <a:pt x="47" y="28"/>
                  </a:lnTo>
                  <a:lnTo>
                    <a:pt x="29" y="35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19" y="35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12" y="28"/>
                  </a:lnTo>
                  <a:lnTo>
                    <a:pt x="0" y="28"/>
                  </a:ln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Freeform 136">
              <a:extLst>
                <a:ext uri="{FF2B5EF4-FFF2-40B4-BE49-F238E27FC236}">
                  <a16:creationId xmlns:a16="http://schemas.microsoft.com/office/drawing/2014/main" id="{74D6538F-87E2-B633-D2E4-35C20C6E6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9717" y="1951707"/>
              <a:ext cx="99771" cy="126882"/>
            </a:xfrm>
            <a:custGeom>
              <a:avLst/>
              <a:gdLst>
                <a:gd name="T0" fmla="*/ 1473810 w 25"/>
                <a:gd name="T1" fmla="*/ 11127524 h 33"/>
                <a:gd name="T2" fmla="*/ 3320403 w 25"/>
                <a:gd name="T3" fmla="*/ 11127524 h 33"/>
                <a:gd name="T4" fmla="*/ 4437047 w 25"/>
                <a:gd name="T5" fmla="*/ 8453119 h 33"/>
                <a:gd name="T6" fmla="*/ 9156075 w 25"/>
                <a:gd name="T7" fmla="*/ 7081854 h 33"/>
                <a:gd name="T8" fmla="*/ 7310098 w 25"/>
                <a:gd name="T9" fmla="*/ 3022350 h 33"/>
                <a:gd name="T10" fmla="*/ 1845983 w 25"/>
                <a:gd name="T11" fmla="*/ 0 h 33"/>
                <a:gd name="T12" fmla="*/ 1473810 w 25"/>
                <a:gd name="T13" fmla="*/ 6394861 h 33"/>
                <a:gd name="T14" fmla="*/ 0 w 25"/>
                <a:gd name="T15" fmla="*/ 6731090 h 33"/>
                <a:gd name="T16" fmla="*/ 1473810 w 25"/>
                <a:gd name="T17" fmla="*/ 9420028 h 33"/>
                <a:gd name="T18" fmla="*/ 1473810 w 25"/>
                <a:gd name="T19" fmla="*/ 11127524 h 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3"/>
                <a:gd name="T32" fmla="*/ 25 w 25"/>
                <a:gd name="T33" fmla="*/ 33 h 3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3">
                  <a:moveTo>
                    <a:pt x="4" y="33"/>
                  </a:moveTo>
                  <a:lnTo>
                    <a:pt x="9" y="33"/>
                  </a:lnTo>
                  <a:lnTo>
                    <a:pt x="12" y="25"/>
                  </a:lnTo>
                  <a:lnTo>
                    <a:pt x="25" y="21"/>
                  </a:lnTo>
                  <a:lnTo>
                    <a:pt x="20" y="9"/>
                  </a:lnTo>
                  <a:lnTo>
                    <a:pt x="5" y="0"/>
                  </a:lnTo>
                  <a:lnTo>
                    <a:pt x="4" y="19"/>
                  </a:lnTo>
                  <a:lnTo>
                    <a:pt x="0" y="20"/>
                  </a:lnTo>
                  <a:lnTo>
                    <a:pt x="4" y="28"/>
                  </a:lnTo>
                  <a:lnTo>
                    <a:pt x="4" y="3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Freeform 137">
              <a:extLst>
                <a:ext uri="{FF2B5EF4-FFF2-40B4-BE49-F238E27FC236}">
                  <a16:creationId xmlns:a16="http://schemas.microsoft.com/office/drawing/2014/main" id="{01679244-066A-3795-F45F-A8DB63E1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9941" y="1399536"/>
              <a:ext cx="434486" cy="563919"/>
            </a:xfrm>
            <a:custGeom>
              <a:avLst/>
              <a:gdLst>
                <a:gd name="T0" fmla="*/ 13041497 w 109"/>
                <a:gd name="T1" fmla="*/ 0 h 146"/>
                <a:gd name="T2" fmla="*/ 14503499 w 109"/>
                <a:gd name="T3" fmla="*/ 1423608 h 146"/>
                <a:gd name="T4" fmla="*/ 17800827 w 109"/>
                <a:gd name="T5" fmla="*/ 1423608 h 146"/>
                <a:gd name="T6" fmla="*/ 17800827 w 109"/>
                <a:gd name="T7" fmla="*/ 2762068 h 146"/>
                <a:gd name="T8" fmla="*/ 19633310 w 109"/>
                <a:gd name="T9" fmla="*/ 1423608 h 146"/>
                <a:gd name="T10" fmla="*/ 22856569 w 109"/>
                <a:gd name="T11" fmla="*/ 4891359 h 146"/>
                <a:gd name="T12" fmla="*/ 21394071 w 109"/>
                <a:gd name="T13" fmla="*/ 6314967 h 146"/>
                <a:gd name="T14" fmla="*/ 22856569 w 109"/>
                <a:gd name="T15" fmla="*/ 6673320 h 146"/>
                <a:gd name="T16" fmla="*/ 22856569 w 109"/>
                <a:gd name="T17" fmla="*/ 7665149 h 146"/>
                <a:gd name="T18" fmla="*/ 21394071 w 109"/>
                <a:gd name="T19" fmla="*/ 9077009 h 146"/>
                <a:gd name="T20" fmla="*/ 22856569 w 109"/>
                <a:gd name="T21" fmla="*/ 9435357 h 146"/>
                <a:gd name="T22" fmla="*/ 21394071 w 109"/>
                <a:gd name="T23" fmla="*/ 11908869 h 146"/>
                <a:gd name="T24" fmla="*/ 22856569 w 109"/>
                <a:gd name="T25" fmla="*/ 11908869 h 146"/>
                <a:gd name="T26" fmla="*/ 24689080 w 109"/>
                <a:gd name="T27" fmla="*/ 9435357 h 146"/>
                <a:gd name="T28" fmla="*/ 26153996 w 109"/>
                <a:gd name="T29" fmla="*/ 9435357 h 146"/>
                <a:gd name="T30" fmla="*/ 26509405 w 109"/>
                <a:gd name="T31" fmla="*/ 8012361 h 146"/>
                <a:gd name="T32" fmla="*/ 29732184 w 109"/>
                <a:gd name="T33" fmla="*/ 7665149 h 146"/>
                <a:gd name="T34" fmla="*/ 29376775 w 109"/>
                <a:gd name="T35" fmla="*/ 6314967 h 146"/>
                <a:gd name="T36" fmla="*/ 34861984 w 109"/>
                <a:gd name="T37" fmla="*/ 9435357 h 146"/>
                <a:gd name="T38" fmla="*/ 39547360 w 109"/>
                <a:gd name="T39" fmla="*/ 9435357 h 146"/>
                <a:gd name="T40" fmla="*/ 36252865 w 109"/>
                <a:gd name="T41" fmla="*/ 13262685 h 146"/>
                <a:gd name="T42" fmla="*/ 34492129 w 109"/>
                <a:gd name="T43" fmla="*/ 13262685 h 146"/>
                <a:gd name="T44" fmla="*/ 33029611 w 109"/>
                <a:gd name="T45" fmla="*/ 16456496 h 146"/>
                <a:gd name="T46" fmla="*/ 32674796 w 109"/>
                <a:gd name="T47" fmla="*/ 23403728 h 146"/>
                <a:gd name="T48" fmla="*/ 31564557 w 109"/>
                <a:gd name="T49" fmla="*/ 24827316 h 146"/>
                <a:gd name="T50" fmla="*/ 31194800 w 109"/>
                <a:gd name="T51" fmla="*/ 28654045 h 146"/>
                <a:gd name="T52" fmla="*/ 32674796 w 109"/>
                <a:gd name="T53" fmla="*/ 28654045 h 146"/>
                <a:gd name="T54" fmla="*/ 32674796 w 109"/>
                <a:gd name="T55" fmla="*/ 32206819 h 146"/>
                <a:gd name="T56" fmla="*/ 24321603 w 109"/>
                <a:gd name="T57" fmla="*/ 32565281 h 146"/>
                <a:gd name="T58" fmla="*/ 21394071 w 109"/>
                <a:gd name="T59" fmla="*/ 35327357 h 146"/>
                <a:gd name="T60" fmla="*/ 17800827 w 109"/>
                <a:gd name="T61" fmla="*/ 37095164 h 146"/>
                <a:gd name="T62" fmla="*/ 14503499 w 109"/>
                <a:gd name="T63" fmla="*/ 44042973 h 146"/>
                <a:gd name="T64" fmla="*/ 14503499 w 109"/>
                <a:gd name="T65" fmla="*/ 47236813 h 146"/>
                <a:gd name="T66" fmla="*/ 12671017 w 109"/>
                <a:gd name="T67" fmla="*/ 51078258 h 146"/>
                <a:gd name="T68" fmla="*/ 11280731 w 109"/>
                <a:gd name="T69" fmla="*/ 51078258 h 146"/>
                <a:gd name="T70" fmla="*/ 9448370 w 109"/>
                <a:gd name="T71" fmla="*/ 47957128 h 146"/>
                <a:gd name="T72" fmla="*/ 9448370 w 109"/>
                <a:gd name="T73" fmla="*/ 46172160 h 146"/>
                <a:gd name="T74" fmla="*/ 7612821 w 109"/>
                <a:gd name="T75" fmla="*/ 44763328 h 146"/>
                <a:gd name="T76" fmla="*/ 9448370 w 109"/>
                <a:gd name="T77" fmla="*/ 41642277 h 146"/>
                <a:gd name="T78" fmla="*/ 11280731 w 109"/>
                <a:gd name="T79" fmla="*/ 41642277 h 146"/>
                <a:gd name="T80" fmla="*/ 11280731 w 109"/>
                <a:gd name="T81" fmla="*/ 39154659 h 146"/>
                <a:gd name="T82" fmla="*/ 7612821 w 109"/>
                <a:gd name="T83" fmla="*/ 39154659 h 146"/>
                <a:gd name="T84" fmla="*/ 5055153 w 109"/>
                <a:gd name="T85" fmla="*/ 35686312 h 146"/>
                <a:gd name="T86" fmla="*/ 5055153 w 109"/>
                <a:gd name="T87" fmla="*/ 33904342 h 146"/>
                <a:gd name="T88" fmla="*/ 3667913 w 109"/>
                <a:gd name="T89" fmla="*/ 33904342 h 146"/>
                <a:gd name="T90" fmla="*/ 5055153 w 109"/>
                <a:gd name="T91" fmla="*/ 32565281 h 146"/>
                <a:gd name="T92" fmla="*/ 5425634 w 109"/>
                <a:gd name="T93" fmla="*/ 25186290 h 146"/>
                <a:gd name="T94" fmla="*/ 3667913 w 109"/>
                <a:gd name="T95" fmla="*/ 23762683 h 146"/>
                <a:gd name="T96" fmla="*/ 1832384 w 109"/>
                <a:gd name="T97" fmla="*/ 23762683 h 146"/>
                <a:gd name="T98" fmla="*/ 0 w 109"/>
                <a:gd name="T99" fmla="*/ 22065278 h 146"/>
                <a:gd name="T100" fmla="*/ 5425634 w 109"/>
                <a:gd name="T101" fmla="*/ 18871473 h 146"/>
                <a:gd name="T102" fmla="*/ 7982711 w 109"/>
                <a:gd name="T103" fmla="*/ 13621156 h 146"/>
                <a:gd name="T104" fmla="*/ 9818116 w 109"/>
                <a:gd name="T105" fmla="*/ 12270822 h 146"/>
                <a:gd name="T106" fmla="*/ 9818116 w 109"/>
                <a:gd name="T107" fmla="*/ 8012361 h 146"/>
                <a:gd name="T108" fmla="*/ 13041497 w 109"/>
                <a:gd name="T109" fmla="*/ 4891359 h 146"/>
                <a:gd name="T110" fmla="*/ 13041497 w 109"/>
                <a:gd name="T111" fmla="*/ 0 h 1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9"/>
                <a:gd name="T169" fmla="*/ 0 h 146"/>
                <a:gd name="T170" fmla="*/ 109 w 109"/>
                <a:gd name="T171" fmla="*/ 146 h 1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9" h="146">
                  <a:moveTo>
                    <a:pt x="36" y="0"/>
                  </a:moveTo>
                  <a:lnTo>
                    <a:pt x="40" y="4"/>
                  </a:lnTo>
                  <a:lnTo>
                    <a:pt x="49" y="4"/>
                  </a:lnTo>
                  <a:lnTo>
                    <a:pt x="49" y="8"/>
                  </a:lnTo>
                  <a:lnTo>
                    <a:pt x="54" y="4"/>
                  </a:lnTo>
                  <a:lnTo>
                    <a:pt x="63" y="14"/>
                  </a:lnTo>
                  <a:lnTo>
                    <a:pt x="59" y="18"/>
                  </a:lnTo>
                  <a:lnTo>
                    <a:pt x="63" y="19"/>
                  </a:lnTo>
                  <a:lnTo>
                    <a:pt x="63" y="22"/>
                  </a:lnTo>
                  <a:lnTo>
                    <a:pt x="59" y="26"/>
                  </a:lnTo>
                  <a:lnTo>
                    <a:pt x="63" y="27"/>
                  </a:lnTo>
                  <a:lnTo>
                    <a:pt x="59" y="34"/>
                  </a:lnTo>
                  <a:lnTo>
                    <a:pt x="63" y="34"/>
                  </a:lnTo>
                  <a:lnTo>
                    <a:pt x="68" y="27"/>
                  </a:lnTo>
                  <a:lnTo>
                    <a:pt x="72" y="27"/>
                  </a:lnTo>
                  <a:lnTo>
                    <a:pt x="73" y="23"/>
                  </a:lnTo>
                  <a:lnTo>
                    <a:pt x="82" y="22"/>
                  </a:lnTo>
                  <a:lnTo>
                    <a:pt x="81" y="18"/>
                  </a:lnTo>
                  <a:lnTo>
                    <a:pt x="96" y="27"/>
                  </a:lnTo>
                  <a:lnTo>
                    <a:pt x="109" y="27"/>
                  </a:lnTo>
                  <a:lnTo>
                    <a:pt x="100" y="38"/>
                  </a:lnTo>
                  <a:lnTo>
                    <a:pt x="95" y="38"/>
                  </a:lnTo>
                  <a:lnTo>
                    <a:pt x="91" y="47"/>
                  </a:lnTo>
                  <a:lnTo>
                    <a:pt x="90" y="67"/>
                  </a:lnTo>
                  <a:lnTo>
                    <a:pt x="87" y="71"/>
                  </a:lnTo>
                  <a:lnTo>
                    <a:pt x="86" y="82"/>
                  </a:lnTo>
                  <a:lnTo>
                    <a:pt x="90" y="82"/>
                  </a:lnTo>
                  <a:lnTo>
                    <a:pt x="90" y="92"/>
                  </a:lnTo>
                  <a:lnTo>
                    <a:pt x="67" y="93"/>
                  </a:lnTo>
                  <a:lnTo>
                    <a:pt x="59" y="101"/>
                  </a:lnTo>
                  <a:lnTo>
                    <a:pt x="49" y="106"/>
                  </a:lnTo>
                  <a:lnTo>
                    <a:pt x="40" y="126"/>
                  </a:lnTo>
                  <a:lnTo>
                    <a:pt x="40" y="135"/>
                  </a:lnTo>
                  <a:lnTo>
                    <a:pt x="35" y="146"/>
                  </a:lnTo>
                  <a:lnTo>
                    <a:pt x="31" y="146"/>
                  </a:lnTo>
                  <a:lnTo>
                    <a:pt x="26" y="137"/>
                  </a:lnTo>
                  <a:lnTo>
                    <a:pt x="26" y="132"/>
                  </a:lnTo>
                  <a:lnTo>
                    <a:pt x="21" y="128"/>
                  </a:lnTo>
                  <a:lnTo>
                    <a:pt x="26" y="119"/>
                  </a:lnTo>
                  <a:lnTo>
                    <a:pt x="31" y="119"/>
                  </a:lnTo>
                  <a:lnTo>
                    <a:pt x="31" y="112"/>
                  </a:lnTo>
                  <a:lnTo>
                    <a:pt x="21" y="112"/>
                  </a:lnTo>
                  <a:lnTo>
                    <a:pt x="14" y="102"/>
                  </a:lnTo>
                  <a:lnTo>
                    <a:pt x="14" y="97"/>
                  </a:lnTo>
                  <a:lnTo>
                    <a:pt x="10" y="97"/>
                  </a:lnTo>
                  <a:lnTo>
                    <a:pt x="14" y="93"/>
                  </a:lnTo>
                  <a:lnTo>
                    <a:pt x="15" y="72"/>
                  </a:lnTo>
                  <a:lnTo>
                    <a:pt x="10" y="68"/>
                  </a:lnTo>
                  <a:lnTo>
                    <a:pt x="5" y="68"/>
                  </a:lnTo>
                  <a:lnTo>
                    <a:pt x="0" y="63"/>
                  </a:lnTo>
                  <a:lnTo>
                    <a:pt x="15" y="54"/>
                  </a:lnTo>
                  <a:lnTo>
                    <a:pt x="22" y="39"/>
                  </a:lnTo>
                  <a:lnTo>
                    <a:pt x="27" y="35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36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Freeform 138">
              <a:extLst>
                <a:ext uri="{FF2B5EF4-FFF2-40B4-BE49-F238E27FC236}">
                  <a16:creationId xmlns:a16="http://schemas.microsoft.com/office/drawing/2014/main" id="{D8F3BFE6-6643-990A-7E2E-821BDC573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587" y="1831874"/>
              <a:ext cx="440923" cy="367331"/>
            </a:xfrm>
            <a:custGeom>
              <a:avLst/>
              <a:gdLst>
                <a:gd name="T0" fmla="*/ 24368921 w 111"/>
                <a:gd name="T1" fmla="*/ 3865246 h 95"/>
                <a:gd name="T2" fmla="*/ 28944355 w 111"/>
                <a:gd name="T3" fmla="*/ 5644944 h 95"/>
                <a:gd name="T4" fmla="*/ 28944355 w 111"/>
                <a:gd name="T5" fmla="*/ 13434264 h 95"/>
                <a:gd name="T6" fmla="*/ 32448690 w 111"/>
                <a:gd name="T7" fmla="*/ 18008701 h 95"/>
                <a:gd name="T8" fmla="*/ 37384737 w 111"/>
                <a:gd name="T9" fmla="*/ 18008701 h 95"/>
                <a:gd name="T10" fmla="*/ 37384737 w 111"/>
                <a:gd name="T11" fmla="*/ 21152259 h 95"/>
                <a:gd name="T12" fmla="*/ 39165135 w 111"/>
                <a:gd name="T13" fmla="*/ 24366438 h 95"/>
                <a:gd name="T14" fmla="*/ 39165135 w 111"/>
                <a:gd name="T15" fmla="*/ 25727426 h 95"/>
                <a:gd name="T16" fmla="*/ 37384737 w 111"/>
                <a:gd name="T17" fmla="*/ 27521908 h 95"/>
                <a:gd name="T18" fmla="*/ 36023822 w 111"/>
                <a:gd name="T19" fmla="*/ 31736450 h 95"/>
                <a:gd name="T20" fmla="*/ 34244017 w 111"/>
                <a:gd name="T21" fmla="*/ 33516003 h 95"/>
                <a:gd name="T22" fmla="*/ 27524571 w 111"/>
                <a:gd name="T23" fmla="*/ 33516003 h 95"/>
                <a:gd name="T24" fmla="*/ 25729975 w 111"/>
                <a:gd name="T25" fmla="*/ 31736450 h 95"/>
                <a:gd name="T26" fmla="*/ 24020196 w 111"/>
                <a:gd name="T27" fmla="*/ 31736450 h 95"/>
                <a:gd name="T28" fmla="*/ 21154423 w 111"/>
                <a:gd name="T29" fmla="*/ 29302074 h 95"/>
                <a:gd name="T30" fmla="*/ 21154423 w 111"/>
                <a:gd name="T31" fmla="*/ 27521908 h 95"/>
                <a:gd name="T32" fmla="*/ 12728343 w 111"/>
                <a:gd name="T33" fmla="*/ 27521908 h 95"/>
                <a:gd name="T34" fmla="*/ 11294262 w 111"/>
                <a:gd name="T35" fmla="*/ 25727426 h 95"/>
                <a:gd name="T36" fmla="*/ 7789894 w 111"/>
                <a:gd name="T37" fmla="*/ 24366438 h 95"/>
                <a:gd name="T38" fmla="*/ 6355206 w 111"/>
                <a:gd name="T39" fmla="*/ 19442695 h 95"/>
                <a:gd name="T40" fmla="*/ 7789894 w 111"/>
                <a:gd name="T41" fmla="*/ 19442695 h 95"/>
                <a:gd name="T42" fmla="*/ 6355206 w 111"/>
                <a:gd name="T43" fmla="*/ 15158613 h 95"/>
                <a:gd name="T44" fmla="*/ 4936043 w 111"/>
                <a:gd name="T45" fmla="*/ 12002679 h 95"/>
                <a:gd name="T46" fmla="*/ 0 w 111"/>
                <a:gd name="T47" fmla="*/ 10583594 h 95"/>
                <a:gd name="T48" fmla="*/ 1434077 w 111"/>
                <a:gd name="T49" fmla="*/ 9149572 h 95"/>
                <a:gd name="T50" fmla="*/ 5284750 w 111"/>
                <a:gd name="T51" fmla="*/ 9513210 h 95"/>
                <a:gd name="T52" fmla="*/ 7789894 w 111"/>
                <a:gd name="T53" fmla="*/ 8439798 h 95"/>
                <a:gd name="T54" fmla="*/ 12004213 w 111"/>
                <a:gd name="T55" fmla="*/ 5644944 h 95"/>
                <a:gd name="T56" fmla="*/ 14435703 w 111"/>
                <a:gd name="T57" fmla="*/ 5644944 h 95"/>
                <a:gd name="T58" fmla="*/ 14799230 w 111"/>
                <a:gd name="T59" fmla="*/ 3140558 h 95"/>
                <a:gd name="T60" fmla="*/ 16230309 w 111"/>
                <a:gd name="T61" fmla="*/ 2504386 h 95"/>
                <a:gd name="T62" fmla="*/ 15869676 w 111"/>
                <a:gd name="T63" fmla="*/ 0 h 95"/>
                <a:gd name="T64" fmla="*/ 21154423 w 111"/>
                <a:gd name="T65" fmla="*/ 0 h 95"/>
                <a:gd name="T66" fmla="*/ 24368921 w 111"/>
                <a:gd name="T67" fmla="*/ 3865246 h 9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"/>
                <a:gd name="T103" fmla="*/ 0 h 95"/>
                <a:gd name="T104" fmla="*/ 111 w 111"/>
                <a:gd name="T105" fmla="*/ 95 h 9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" h="95">
                  <a:moveTo>
                    <a:pt x="69" y="11"/>
                  </a:moveTo>
                  <a:lnTo>
                    <a:pt x="82" y="16"/>
                  </a:lnTo>
                  <a:cubicBezTo>
                    <a:pt x="82" y="24"/>
                    <a:pt x="82" y="31"/>
                    <a:pt x="82" y="38"/>
                  </a:cubicBezTo>
                  <a:lnTo>
                    <a:pt x="92" y="51"/>
                  </a:lnTo>
                  <a:lnTo>
                    <a:pt x="106" y="51"/>
                  </a:lnTo>
                  <a:lnTo>
                    <a:pt x="106" y="60"/>
                  </a:lnTo>
                  <a:lnTo>
                    <a:pt x="111" y="69"/>
                  </a:lnTo>
                  <a:lnTo>
                    <a:pt x="111" y="73"/>
                  </a:lnTo>
                  <a:lnTo>
                    <a:pt x="106" y="78"/>
                  </a:lnTo>
                  <a:lnTo>
                    <a:pt x="102" y="90"/>
                  </a:lnTo>
                  <a:lnTo>
                    <a:pt x="97" y="95"/>
                  </a:lnTo>
                  <a:lnTo>
                    <a:pt x="78" y="95"/>
                  </a:lnTo>
                  <a:lnTo>
                    <a:pt x="73" y="90"/>
                  </a:lnTo>
                  <a:lnTo>
                    <a:pt x="68" y="90"/>
                  </a:lnTo>
                  <a:lnTo>
                    <a:pt x="60" y="83"/>
                  </a:lnTo>
                  <a:lnTo>
                    <a:pt x="60" y="78"/>
                  </a:lnTo>
                  <a:cubicBezTo>
                    <a:pt x="52" y="78"/>
                    <a:pt x="44" y="78"/>
                    <a:pt x="36" y="78"/>
                  </a:cubicBezTo>
                  <a:lnTo>
                    <a:pt x="32" y="73"/>
                  </a:lnTo>
                  <a:lnTo>
                    <a:pt x="22" y="69"/>
                  </a:lnTo>
                  <a:lnTo>
                    <a:pt x="18" y="55"/>
                  </a:lnTo>
                  <a:lnTo>
                    <a:pt x="22" y="55"/>
                  </a:lnTo>
                  <a:lnTo>
                    <a:pt x="18" y="43"/>
                  </a:lnTo>
                  <a:lnTo>
                    <a:pt x="14" y="34"/>
                  </a:lnTo>
                  <a:lnTo>
                    <a:pt x="0" y="30"/>
                  </a:lnTo>
                  <a:lnTo>
                    <a:pt x="4" y="26"/>
                  </a:lnTo>
                  <a:lnTo>
                    <a:pt x="15" y="27"/>
                  </a:lnTo>
                  <a:lnTo>
                    <a:pt x="22" y="24"/>
                  </a:lnTo>
                  <a:lnTo>
                    <a:pt x="34" y="16"/>
                  </a:lnTo>
                  <a:lnTo>
                    <a:pt x="41" y="16"/>
                  </a:lnTo>
                  <a:lnTo>
                    <a:pt x="42" y="9"/>
                  </a:lnTo>
                  <a:lnTo>
                    <a:pt x="46" y="7"/>
                  </a:lnTo>
                  <a:lnTo>
                    <a:pt x="45" y="0"/>
                  </a:lnTo>
                  <a:lnTo>
                    <a:pt x="60" y="0"/>
                  </a:lnTo>
                  <a:lnTo>
                    <a:pt x="69" y="1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Freeform 139">
              <a:extLst>
                <a:ext uri="{FF2B5EF4-FFF2-40B4-BE49-F238E27FC236}">
                  <a16:creationId xmlns:a16="http://schemas.microsoft.com/office/drawing/2014/main" id="{4701D666-910C-C30D-BB42-47CFE032F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4768" y="1305549"/>
              <a:ext cx="144829" cy="101819"/>
            </a:xfrm>
            <a:custGeom>
              <a:avLst/>
              <a:gdLst>
                <a:gd name="T0" fmla="*/ 5313 w 81"/>
                <a:gd name="T1" fmla="*/ 25930 h 61"/>
                <a:gd name="T2" fmla="*/ 0 w 81"/>
                <a:gd name="T3" fmla="*/ 20791 h 61"/>
                <a:gd name="T4" fmla="*/ 0 w 81"/>
                <a:gd name="T5" fmla="*/ 7608 h 61"/>
                <a:gd name="T6" fmla="*/ 4829 w 81"/>
                <a:gd name="T7" fmla="*/ 7608 h 61"/>
                <a:gd name="T8" fmla="*/ 4829 w 81"/>
                <a:gd name="T9" fmla="*/ 3389 h 61"/>
                <a:gd name="T10" fmla="*/ 23847 w 81"/>
                <a:gd name="T11" fmla="*/ 386 h 61"/>
                <a:gd name="T12" fmla="*/ 48187 w 81"/>
                <a:gd name="T13" fmla="*/ 3389 h 61"/>
                <a:gd name="T14" fmla="*/ 42873 w 81"/>
                <a:gd name="T15" fmla="*/ 17985 h 61"/>
                <a:gd name="T16" fmla="*/ 38044 w 81"/>
                <a:gd name="T17" fmla="*/ 17985 h 61"/>
                <a:gd name="T18" fmla="*/ 38044 w 81"/>
                <a:gd name="T19" fmla="*/ 22196 h 61"/>
                <a:gd name="T20" fmla="*/ 26731 w 81"/>
                <a:gd name="T21" fmla="*/ 22196 h 61"/>
                <a:gd name="T22" fmla="*/ 21467 w 81"/>
                <a:gd name="T23" fmla="*/ 25930 h 61"/>
                <a:gd name="T24" fmla="*/ 5313 w 81"/>
                <a:gd name="T25" fmla="*/ 25930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1"/>
                <a:gd name="T40" fmla="*/ 0 h 61"/>
                <a:gd name="T41" fmla="*/ 81 w 81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1" h="61">
                  <a:moveTo>
                    <a:pt x="9" y="61"/>
                  </a:moveTo>
                  <a:lnTo>
                    <a:pt x="0" y="49"/>
                  </a:lnTo>
                  <a:lnTo>
                    <a:pt x="0" y="18"/>
                  </a:lnTo>
                  <a:lnTo>
                    <a:pt x="8" y="18"/>
                  </a:lnTo>
                  <a:lnTo>
                    <a:pt x="8" y="8"/>
                  </a:lnTo>
                  <a:cubicBezTo>
                    <a:pt x="17" y="2"/>
                    <a:pt x="30" y="1"/>
                    <a:pt x="40" y="1"/>
                  </a:cubicBezTo>
                  <a:cubicBezTo>
                    <a:pt x="54" y="1"/>
                    <a:pt x="67" y="0"/>
                    <a:pt x="81" y="8"/>
                  </a:cubicBezTo>
                  <a:lnTo>
                    <a:pt x="72" y="42"/>
                  </a:lnTo>
                  <a:lnTo>
                    <a:pt x="64" y="42"/>
                  </a:lnTo>
                  <a:lnTo>
                    <a:pt x="64" y="52"/>
                  </a:lnTo>
                  <a:lnTo>
                    <a:pt x="45" y="52"/>
                  </a:lnTo>
                  <a:lnTo>
                    <a:pt x="36" y="61"/>
                  </a:lnTo>
                  <a:cubicBezTo>
                    <a:pt x="24" y="61"/>
                    <a:pt x="21" y="61"/>
                    <a:pt x="9" y="61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5" name="Agrupar 34">
            <a:extLst>
              <a:ext uri="{FF2B5EF4-FFF2-40B4-BE49-F238E27FC236}">
                <a16:creationId xmlns:a16="http://schemas.microsoft.com/office/drawing/2014/main" id="{C9214419-8C98-2DEB-22A5-71B2049F2A9C}"/>
              </a:ext>
            </a:extLst>
          </p:cNvPr>
          <p:cNvGrpSpPr/>
          <p:nvPr/>
        </p:nvGrpSpPr>
        <p:grpSpPr>
          <a:xfrm>
            <a:off x="5099389" y="3773118"/>
            <a:ext cx="6865554" cy="6592104"/>
            <a:chOff x="2509430" y="988949"/>
            <a:chExt cx="2540945" cy="243974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6" name="Freeform 113">
              <a:extLst>
                <a:ext uri="{FF2B5EF4-FFF2-40B4-BE49-F238E27FC236}">
                  <a16:creationId xmlns:a16="http://schemas.microsoft.com/office/drawing/2014/main" id="{F112B9AE-DBAD-AD23-5B55-C1DD3FE5E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5545" y="1905320"/>
              <a:ext cx="190692" cy="119833"/>
            </a:xfrm>
            <a:custGeom>
              <a:avLst/>
              <a:gdLst>
                <a:gd name="T0" fmla="*/ 16952679 w 48"/>
                <a:gd name="T1" fmla="*/ 1431750 h 31"/>
                <a:gd name="T2" fmla="*/ 12735956 w 48"/>
                <a:gd name="T3" fmla="*/ 1431750 h 31"/>
                <a:gd name="T4" fmla="*/ 10229606 w 48"/>
                <a:gd name="T5" fmla="*/ 1431750 h 31"/>
                <a:gd name="T6" fmla="*/ 5652130 w 48"/>
                <a:gd name="T7" fmla="*/ 3136515 h 31"/>
                <a:gd name="T8" fmla="*/ 3867884 w 48"/>
                <a:gd name="T9" fmla="*/ 1777747 h 31"/>
                <a:gd name="T10" fmla="*/ 3142882 w 48"/>
                <a:gd name="T11" fmla="*/ 0 h 31"/>
                <a:gd name="T12" fmla="*/ 0 w 48"/>
                <a:gd name="T13" fmla="*/ 1777747 h 31"/>
                <a:gd name="T14" fmla="*/ 1781243 w 48"/>
                <a:gd name="T15" fmla="*/ 3496712 h 31"/>
                <a:gd name="T16" fmla="*/ 7433253 w 48"/>
                <a:gd name="T17" fmla="*/ 6706183 h 31"/>
                <a:gd name="T18" fmla="*/ 9158667 w 48"/>
                <a:gd name="T19" fmla="*/ 10911952 h 31"/>
                <a:gd name="T20" fmla="*/ 16952679 w 48"/>
                <a:gd name="T21" fmla="*/ 1431750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31"/>
                <a:gd name="T35" fmla="*/ 48 w 48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31">
                  <a:moveTo>
                    <a:pt x="48" y="4"/>
                  </a:moveTo>
                  <a:lnTo>
                    <a:pt x="36" y="4"/>
                  </a:lnTo>
                  <a:lnTo>
                    <a:pt x="29" y="4"/>
                  </a:lnTo>
                  <a:lnTo>
                    <a:pt x="16" y="9"/>
                  </a:lnTo>
                  <a:lnTo>
                    <a:pt x="11" y="5"/>
                  </a:lnTo>
                  <a:lnTo>
                    <a:pt x="9" y="0"/>
                  </a:lnTo>
                  <a:lnTo>
                    <a:pt x="0" y="5"/>
                  </a:lnTo>
                  <a:lnTo>
                    <a:pt x="5" y="10"/>
                  </a:lnTo>
                  <a:lnTo>
                    <a:pt x="21" y="19"/>
                  </a:lnTo>
                  <a:lnTo>
                    <a:pt x="26" y="31"/>
                  </a:lnTo>
                  <a:lnTo>
                    <a:pt x="48" y="4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Freeform 114">
              <a:extLst>
                <a:ext uri="{FF2B5EF4-FFF2-40B4-BE49-F238E27FC236}">
                  <a16:creationId xmlns:a16="http://schemas.microsoft.com/office/drawing/2014/main" id="{026007AD-77A5-30DE-0256-8A83B1490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6808" y="1789403"/>
              <a:ext cx="409544" cy="151162"/>
            </a:xfrm>
            <a:custGeom>
              <a:avLst/>
              <a:gdLst>
                <a:gd name="T0" fmla="*/ 12817372 w 103"/>
                <a:gd name="T1" fmla="*/ 3276467 h 39"/>
                <a:gd name="T2" fmla="*/ 11010393 w 103"/>
                <a:gd name="T3" fmla="*/ 1454448 h 39"/>
                <a:gd name="T4" fmla="*/ 4252823 w 103"/>
                <a:gd name="T5" fmla="*/ 0 h 39"/>
                <a:gd name="T6" fmla="*/ 4252823 w 103"/>
                <a:gd name="T7" fmla="*/ 3276467 h 39"/>
                <a:gd name="T8" fmla="*/ 2882250 w 103"/>
                <a:gd name="T9" fmla="*/ 7197653 h 39"/>
                <a:gd name="T10" fmla="*/ 1078887 w 103"/>
                <a:gd name="T11" fmla="*/ 6829349 h 39"/>
                <a:gd name="T12" fmla="*/ 0 w 103"/>
                <a:gd name="T13" fmla="*/ 8651981 h 39"/>
                <a:gd name="T14" fmla="*/ 1441419 w 103"/>
                <a:gd name="T15" fmla="*/ 8651981 h 39"/>
                <a:gd name="T16" fmla="*/ 1078887 w 103"/>
                <a:gd name="T17" fmla="*/ 10749942 h 39"/>
                <a:gd name="T18" fmla="*/ 2882250 w 103"/>
                <a:gd name="T19" fmla="*/ 12204271 h 39"/>
                <a:gd name="T20" fmla="*/ 4252823 w 103"/>
                <a:gd name="T21" fmla="*/ 12204271 h 39"/>
                <a:gd name="T22" fmla="*/ 6044949 w 103"/>
                <a:gd name="T23" fmla="*/ 10749942 h 39"/>
                <a:gd name="T24" fmla="*/ 7851310 w 103"/>
                <a:gd name="T25" fmla="*/ 10749942 h 39"/>
                <a:gd name="T26" fmla="*/ 11010393 w 103"/>
                <a:gd name="T27" fmla="*/ 7565243 h 39"/>
                <a:gd name="T28" fmla="*/ 14243353 w 103"/>
                <a:gd name="T29" fmla="*/ 10749942 h 39"/>
                <a:gd name="T30" fmla="*/ 15976324 w 103"/>
                <a:gd name="T31" fmla="*/ 10749942 h 39"/>
                <a:gd name="T32" fmla="*/ 17783422 w 103"/>
                <a:gd name="T33" fmla="*/ 12204271 h 39"/>
                <a:gd name="T34" fmla="*/ 21016367 w 103"/>
                <a:gd name="T35" fmla="*/ 10749942 h 39"/>
                <a:gd name="T36" fmla="*/ 21655730 w 103"/>
                <a:gd name="T37" fmla="*/ 12204271 h 39"/>
                <a:gd name="T38" fmla="*/ 23462096 w 103"/>
                <a:gd name="T39" fmla="*/ 14027002 h 39"/>
                <a:gd name="T40" fmla="*/ 28065629 w 103"/>
                <a:gd name="T41" fmla="*/ 12204271 h 39"/>
                <a:gd name="T42" fmla="*/ 34838055 w 103"/>
                <a:gd name="T43" fmla="*/ 12204271 h 39"/>
                <a:gd name="T44" fmla="*/ 36279463 w 103"/>
                <a:gd name="T45" fmla="*/ 7565243 h 39"/>
                <a:gd name="T46" fmla="*/ 36627145 w 103"/>
                <a:gd name="T47" fmla="*/ 2172269 h 39"/>
                <a:gd name="T48" fmla="*/ 33105538 w 103"/>
                <a:gd name="T49" fmla="*/ 3276467 h 39"/>
                <a:gd name="T50" fmla="*/ 26695164 w 103"/>
                <a:gd name="T51" fmla="*/ 5743225 h 39"/>
                <a:gd name="T52" fmla="*/ 24903643 w 103"/>
                <a:gd name="T53" fmla="*/ 7565243 h 39"/>
                <a:gd name="T54" fmla="*/ 23462096 w 103"/>
                <a:gd name="T55" fmla="*/ 7565243 h 39"/>
                <a:gd name="T56" fmla="*/ 23462096 w 103"/>
                <a:gd name="T57" fmla="*/ 5743225 h 39"/>
                <a:gd name="T58" fmla="*/ 24903643 w 103"/>
                <a:gd name="T59" fmla="*/ 1454448 h 39"/>
                <a:gd name="T60" fmla="*/ 23462096 w 103"/>
                <a:gd name="T61" fmla="*/ 1454448 h 39"/>
                <a:gd name="T62" fmla="*/ 20650821 w 103"/>
                <a:gd name="T63" fmla="*/ 3276467 h 39"/>
                <a:gd name="T64" fmla="*/ 12817372 w 103"/>
                <a:gd name="T65" fmla="*/ 3276467 h 3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3"/>
                <a:gd name="T100" fmla="*/ 0 h 39"/>
                <a:gd name="T101" fmla="*/ 103 w 103"/>
                <a:gd name="T102" fmla="*/ 39 h 3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3" h="39">
                  <a:moveTo>
                    <a:pt x="36" y="9"/>
                  </a:moveTo>
                  <a:lnTo>
                    <a:pt x="31" y="4"/>
                  </a:lnTo>
                  <a:lnTo>
                    <a:pt x="12" y="0"/>
                  </a:lnTo>
                  <a:lnTo>
                    <a:pt x="12" y="9"/>
                  </a:lnTo>
                  <a:lnTo>
                    <a:pt x="8" y="20"/>
                  </a:lnTo>
                  <a:lnTo>
                    <a:pt x="3" y="19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3" y="30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7" y="30"/>
                  </a:lnTo>
                  <a:lnTo>
                    <a:pt x="22" y="30"/>
                  </a:lnTo>
                  <a:lnTo>
                    <a:pt x="31" y="21"/>
                  </a:lnTo>
                  <a:lnTo>
                    <a:pt x="40" y="30"/>
                  </a:lnTo>
                  <a:lnTo>
                    <a:pt x="45" y="30"/>
                  </a:lnTo>
                  <a:lnTo>
                    <a:pt x="50" y="34"/>
                  </a:lnTo>
                  <a:lnTo>
                    <a:pt x="59" y="30"/>
                  </a:lnTo>
                  <a:lnTo>
                    <a:pt x="61" y="34"/>
                  </a:lnTo>
                  <a:lnTo>
                    <a:pt x="66" y="39"/>
                  </a:lnTo>
                  <a:lnTo>
                    <a:pt x="79" y="34"/>
                  </a:lnTo>
                  <a:lnTo>
                    <a:pt x="98" y="34"/>
                  </a:lnTo>
                  <a:lnTo>
                    <a:pt x="102" y="21"/>
                  </a:lnTo>
                  <a:lnTo>
                    <a:pt x="103" y="6"/>
                  </a:lnTo>
                  <a:lnTo>
                    <a:pt x="93" y="9"/>
                  </a:lnTo>
                  <a:lnTo>
                    <a:pt x="75" y="16"/>
                  </a:lnTo>
                  <a:lnTo>
                    <a:pt x="70" y="21"/>
                  </a:lnTo>
                  <a:lnTo>
                    <a:pt x="66" y="21"/>
                  </a:lnTo>
                  <a:lnTo>
                    <a:pt x="66" y="16"/>
                  </a:lnTo>
                  <a:lnTo>
                    <a:pt x="70" y="4"/>
                  </a:lnTo>
                  <a:lnTo>
                    <a:pt x="66" y="4"/>
                  </a:lnTo>
                  <a:lnTo>
                    <a:pt x="58" y="9"/>
                  </a:lnTo>
                  <a:lnTo>
                    <a:pt x="36" y="9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Freeform 115">
              <a:extLst>
                <a:ext uri="{FF2B5EF4-FFF2-40B4-BE49-F238E27FC236}">
                  <a16:creationId xmlns:a16="http://schemas.microsoft.com/office/drawing/2014/main" id="{22E6DAD2-876F-94AA-1D74-3FC36EE53C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2785" y="1501960"/>
              <a:ext cx="270348" cy="322688"/>
            </a:xfrm>
            <a:custGeom>
              <a:avLst/>
              <a:gdLst>
                <a:gd name="T0" fmla="*/ 24158854 w 68"/>
                <a:gd name="T1" fmla="*/ 12551685 h 83"/>
                <a:gd name="T2" fmla="*/ 22005668 w 68"/>
                <a:gd name="T3" fmla="*/ 12551685 h 83"/>
                <a:gd name="T4" fmla="*/ 19922958 w 68"/>
                <a:gd name="T5" fmla="*/ 9574333 h 83"/>
                <a:gd name="T6" fmla="*/ 11717031 w 68"/>
                <a:gd name="T7" fmla="*/ 4083515 h 83"/>
                <a:gd name="T8" fmla="*/ 6753911 w 68"/>
                <a:gd name="T9" fmla="*/ 0 h 83"/>
                <a:gd name="T10" fmla="*/ 1440205 w 68"/>
                <a:gd name="T11" fmla="*/ 2229932 h 83"/>
                <a:gd name="T12" fmla="*/ 0 w 68"/>
                <a:gd name="T13" fmla="*/ 3710124 h 83"/>
                <a:gd name="T14" fmla="*/ 1805629 w 68"/>
                <a:gd name="T15" fmla="*/ 9574333 h 83"/>
                <a:gd name="T16" fmla="*/ 1805629 w 68"/>
                <a:gd name="T17" fmla="*/ 11069061 h 83"/>
                <a:gd name="T18" fmla="*/ 1805629 w 68"/>
                <a:gd name="T19" fmla="*/ 12551685 h 83"/>
                <a:gd name="T20" fmla="*/ 1805629 w 68"/>
                <a:gd name="T21" fmla="*/ 16186466 h 83"/>
                <a:gd name="T22" fmla="*/ 3157501 w 68"/>
                <a:gd name="T23" fmla="*/ 22126606 h 83"/>
                <a:gd name="T24" fmla="*/ 4963124 w 68"/>
                <a:gd name="T25" fmla="*/ 25474209 h 83"/>
                <a:gd name="T26" fmla="*/ 4963124 w 68"/>
                <a:gd name="T27" fmla="*/ 27255498 h 83"/>
                <a:gd name="T28" fmla="*/ 11717031 w 68"/>
                <a:gd name="T29" fmla="*/ 28738121 h 83"/>
                <a:gd name="T30" fmla="*/ 13519631 w 68"/>
                <a:gd name="T31" fmla="*/ 30591704 h 83"/>
                <a:gd name="T32" fmla="*/ 16680154 w 68"/>
                <a:gd name="T33" fmla="*/ 30591704 h 83"/>
                <a:gd name="T34" fmla="*/ 16680154 w 68"/>
                <a:gd name="T35" fmla="*/ 28738121 h 83"/>
                <a:gd name="T36" fmla="*/ 16680154 w 68"/>
                <a:gd name="T37" fmla="*/ 25474209 h 83"/>
                <a:gd name="T38" fmla="*/ 16680154 w 68"/>
                <a:gd name="T39" fmla="*/ 23979473 h 83"/>
                <a:gd name="T40" fmla="*/ 18120358 w 68"/>
                <a:gd name="T41" fmla="*/ 20269971 h 83"/>
                <a:gd name="T42" fmla="*/ 24158854 w 68"/>
                <a:gd name="T43" fmla="*/ 12551685 h 8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8"/>
                <a:gd name="T67" fmla="*/ 0 h 83"/>
                <a:gd name="T68" fmla="*/ 68 w 68"/>
                <a:gd name="T69" fmla="*/ 83 h 8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8" h="83">
                  <a:moveTo>
                    <a:pt x="68" y="34"/>
                  </a:moveTo>
                  <a:lnTo>
                    <a:pt x="62" y="34"/>
                  </a:lnTo>
                  <a:lnTo>
                    <a:pt x="56" y="26"/>
                  </a:lnTo>
                  <a:lnTo>
                    <a:pt x="33" y="11"/>
                  </a:lnTo>
                  <a:lnTo>
                    <a:pt x="19" y="0"/>
                  </a:lnTo>
                  <a:lnTo>
                    <a:pt x="4" y="6"/>
                  </a:lnTo>
                  <a:lnTo>
                    <a:pt x="0" y="10"/>
                  </a:lnTo>
                  <a:lnTo>
                    <a:pt x="5" y="26"/>
                  </a:lnTo>
                  <a:lnTo>
                    <a:pt x="5" y="30"/>
                  </a:lnTo>
                  <a:lnTo>
                    <a:pt x="5" y="34"/>
                  </a:lnTo>
                  <a:lnTo>
                    <a:pt x="5" y="44"/>
                  </a:lnTo>
                  <a:lnTo>
                    <a:pt x="9" y="60"/>
                  </a:lnTo>
                  <a:lnTo>
                    <a:pt x="14" y="69"/>
                  </a:lnTo>
                  <a:lnTo>
                    <a:pt x="14" y="74"/>
                  </a:lnTo>
                  <a:lnTo>
                    <a:pt x="33" y="78"/>
                  </a:lnTo>
                  <a:lnTo>
                    <a:pt x="38" y="83"/>
                  </a:lnTo>
                  <a:lnTo>
                    <a:pt x="47" y="83"/>
                  </a:lnTo>
                  <a:lnTo>
                    <a:pt x="47" y="78"/>
                  </a:lnTo>
                  <a:lnTo>
                    <a:pt x="47" y="69"/>
                  </a:lnTo>
                  <a:lnTo>
                    <a:pt x="47" y="65"/>
                  </a:lnTo>
                  <a:lnTo>
                    <a:pt x="51" y="55"/>
                  </a:lnTo>
                  <a:lnTo>
                    <a:pt x="68" y="34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Freeform 116">
              <a:extLst>
                <a:ext uri="{FF2B5EF4-FFF2-40B4-BE49-F238E27FC236}">
                  <a16:creationId xmlns:a16="http://schemas.microsoft.com/office/drawing/2014/main" id="{C1F60715-4169-9BCA-0170-A960F8D42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453" y="1635108"/>
              <a:ext cx="226899" cy="154295"/>
            </a:xfrm>
            <a:custGeom>
              <a:avLst/>
              <a:gdLst>
                <a:gd name="T0" fmla="*/ 3269296 w 57"/>
                <a:gd name="T1" fmla="*/ 10402359 h 40"/>
                <a:gd name="T2" fmla="*/ 0 w 57"/>
                <a:gd name="T3" fmla="*/ 10402359 h 40"/>
                <a:gd name="T4" fmla="*/ 1817010 w 57"/>
                <a:gd name="T5" fmla="*/ 7235381 h 40"/>
                <a:gd name="T6" fmla="*/ 7184381 w 57"/>
                <a:gd name="T7" fmla="*/ 0 h 40"/>
                <a:gd name="T8" fmla="*/ 8989418 w 57"/>
                <a:gd name="T9" fmla="*/ 1756156 h 40"/>
                <a:gd name="T10" fmla="*/ 12185083 w 57"/>
                <a:gd name="T11" fmla="*/ 3097564 h 40"/>
                <a:gd name="T12" fmla="*/ 17200071 w 57"/>
                <a:gd name="T13" fmla="*/ 3097564 h 40"/>
                <a:gd name="T14" fmla="*/ 19005108 w 57"/>
                <a:gd name="T15" fmla="*/ 5551505 h 40"/>
                <a:gd name="T16" fmla="*/ 20457398 w 57"/>
                <a:gd name="T17" fmla="*/ 10402359 h 40"/>
                <a:gd name="T18" fmla="*/ 12185083 w 57"/>
                <a:gd name="T19" fmla="*/ 10402359 h 40"/>
                <a:gd name="T20" fmla="*/ 10732190 w 57"/>
                <a:gd name="T21" fmla="*/ 12085527 h 40"/>
                <a:gd name="T22" fmla="*/ 10732190 w 57"/>
                <a:gd name="T23" fmla="*/ 13841712 h 40"/>
                <a:gd name="T24" fmla="*/ 8989418 w 57"/>
                <a:gd name="T25" fmla="*/ 12085527 h 40"/>
                <a:gd name="T26" fmla="*/ 5732116 w 57"/>
                <a:gd name="T27" fmla="*/ 12085527 h 40"/>
                <a:gd name="T28" fmla="*/ 5732116 w 57"/>
                <a:gd name="T29" fmla="*/ 10402359 h 40"/>
                <a:gd name="T30" fmla="*/ 7184381 w 57"/>
                <a:gd name="T31" fmla="*/ 8990951 h 40"/>
                <a:gd name="T32" fmla="*/ 7184381 w 57"/>
                <a:gd name="T33" fmla="*/ 7235381 h 40"/>
                <a:gd name="T34" fmla="*/ 5000097 w 57"/>
                <a:gd name="T35" fmla="*/ 8990951 h 40"/>
                <a:gd name="T36" fmla="*/ 3269296 w 57"/>
                <a:gd name="T37" fmla="*/ 10402359 h 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7"/>
                <a:gd name="T58" fmla="*/ 0 h 40"/>
                <a:gd name="T59" fmla="*/ 57 w 57"/>
                <a:gd name="T60" fmla="*/ 40 h 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7" h="40">
                  <a:moveTo>
                    <a:pt x="9" y="30"/>
                  </a:moveTo>
                  <a:lnTo>
                    <a:pt x="0" y="30"/>
                  </a:lnTo>
                  <a:lnTo>
                    <a:pt x="5" y="21"/>
                  </a:lnTo>
                  <a:lnTo>
                    <a:pt x="20" y="0"/>
                  </a:lnTo>
                  <a:lnTo>
                    <a:pt x="25" y="5"/>
                  </a:lnTo>
                  <a:lnTo>
                    <a:pt x="34" y="9"/>
                  </a:lnTo>
                  <a:lnTo>
                    <a:pt x="48" y="9"/>
                  </a:lnTo>
                  <a:lnTo>
                    <a:pt x="53" y="16"/>
                  </a:lnTo>
                  <a:lnTo>
                    <a:pt x="57" y="30"/>
                  </a:lnTo>
                  <a:cubicBezTo>
                    <a:pt x="50" y="30"/>
                    <a:pt x="41" y="30"/>
                    <a:pt x="34" y="30"/>
                  </a:cubicBezTo>
                  <a:lnTo>
                    <a:pt x="30" y="35"/>
                  </a:lnTo>
                  <a:lnTo>
                    <a:pt x="30" y="40"/>
                  </a:lnTo>
                  <a:lnTo>
                    <a:pt x="25" y="35"/>
                  </a:lnTo>
                  <a:lnTo>
                    <a:pt x="16" y="35"/>
                  </a:lnTo>
                  <a:lnTo>
                    <a:pt x="16" y="30"/>
                  </a:lnTo>
                  <a:lnTo>
                    <a:pt x="20" y="26"/>
                  </a:lnTo>
                  <a:lnTo>
                    <a:pt x="20" y="21"/>
                  </a:lnTo>
                  <a:lnTo>
                    <a:pt x="14" y="26"/>
                  </a:lnTo>
                  <a:lnTo>
                    <a:pt x="9" y="30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Freeform 117">
              <a:extLst>
                <a:ext uri="{FF2B5EF4-FFF2-40B4-BE49-F238E27FC236}">
                  <a16:creationId xmlns:a16="http://schemas.microsoft.com/office/drawing/2014/main" id="{1E34B95B-224D-F581-EFD4-13A7A956A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121" y="2733188"/>
              <a:ext cx="384602" cy="270212"/>
            </a:xfrm>
            <a:custGeom>
              <a:avLst/>
              <a:gdLst>
                <a:gd name="T0" fmla="*/ 32319226 w 97"/>
                <a:gd name="T1" fmla="*/ 18431208 h 70"/>
                <a:gd name="T2" fmla="*/ 31961899 w 97"/>
                <a:gd name="T3" fmla="*/ 20208440 h 70"/>
                <a:gd name="T4" fmla="*/ 29213311 w 97"/>
                <a:gd name="T5" fmla="*/ 20208440 h 70"/>
                <a:gd name="T6" fmla="*/ 25760595 w 97"/>
                <a:gd name="T7" fmla="*/ 22601620 h 70"/>
                <a:gd name="T8" fmla="*/ 25760595 w 97"/>
                <a:gd name="T9" fmla="*/ 20208440 h 70"/>
                <a:gd name="T10" fmla="*/ 24342443 w 97"/>
                <a:gd name="T11" fmla="*/ 20208440 h 70"/>
                <a:gd name="T12" fmla="*/ 22581689 w 97"/>
                <a:gd name="T13" fmla="*/ 20208440 h 70"/>
                <a:gd name="T14" fmla="*/ 20893334 w 97"/>
                <a:gd name="T15" fmla="*/ 20208440 h 70"/>
                <a:gd name="T16" fmla="*/ 19475168 w 97"/>
                <a:gd name="T17" fmla="*/ 22601620 h 70"/>
                <a:gd name="T18" fmla="*/ 17714295 w 97"/>
                <a:gd name="T19" fmla="*/ 22601620 h 70"/>
                <a:gd name="T20" fmla="*/ 17714295 w 97"/>
                <a:gd name="T21" fmla="*/ 24366994 h 70"/>
                <a:gd name="T22" fmla="*/ 16023063 w 97"/>
                <a:gd name="T23" fmla="*/ 24366994 h 70"/>
                <a:gd name="T24" fmla="*/ 12844038 w 97"/>
                <a:gd name="T25" fmla="*/ 22601620 h 70"/>
                <a:gd name="T26" fmla="*/ 9737535 w 97"/>
                <a:gd name="T27" fmla="*/ 22601620 h 70"/>
                <a:gd name="T28" fmla="*/ 6631137 w 97"/>
                <a:gd name="T29" fmla="*/ 22601620 h 70"/>
                <a:gd name="T30" fmla="*/ 4867277 w 97"/>
                <a:gd name="T31" fmla="*/ 22601620 h 70"/>
                <a:gd name="T32" fmla="*/ 3106522 w 97"/>
                <a:gd name="T33" fmla="*/ 18431208 h 70"/>
                <a:gd name="T34" fmla="*/ 0 w 97"/>
                <a:gd name="T35" fmla="*/ 18431208 h 70"/>
                <a:gd name="T36" fmla="*/ 0 w 97"/>
                <a:gd name="T37" fmla="*/ 13557454 h 70"/>
                <a:gd name="T38" fmla="*/ 1760873 w 97"/>
                <a:gd name="T39" fmla="*/ 12225705 h 70"/>
                <a:gd name="T40" fmla="*/ 1760873 w 97"/>
                <a:gd name="T41" fmla="*/ 9044174 h 70"/>
                <a:gd name="T42" fmla="*/ 3106522 w 97"/>
                <a:gd name="T43" fmla="*/ 9044174 h 70"/>
                <a:gd name="T44" fmla="*/ 3106522 w 97"/>
                <a:gd name="T45" fmla="*/ 4873755 h 70"/>
                <a:gd name="T46" fmla="*/ 4867277 w 97"/>
                <a:gd name="T47" fmla="*/ 3454736 h 70"/>
                <a:gd name="T48" fmla="*/ 7976785 w 97"/>
                <a:gd name="T49" fmla="*/ 0 h 70"/>
                <a:gd name="T50" fmla="*/ 9737535 w 97"/>
                <a:gd name="T51" fmla="*/ 0 h 70"/>
                <a:gd name="T52" fmla="*/ 12844038 w 97"/>
                <a:gd name="T53" fmla="*/ 1762491 h 70"/>
                <a:gd name="T54" fmla="*/ 14604911 w 97"/>
                <a:gd name="T55" fmla="*/ 1762491 h 70"/>
                <a:gd name="T56" fmla="*/ 17714295 w 97"/>
                <a:gd name="T57" fmla="*/ 1762491 h 70"/>
                <a:gd name="T58" fmla="*/ 20893334 w 97"/>
                <a:gd name="T59" fmla="*/ 3454736 h 70"/>
                <a:gd name="T60" fmla="*/ 24342443 w 97"/>
                <a:gd name="T61" fmla="*/ 3454736 h 70"/>
                <a:gd name="T62" fmla="*/ 25760595 w 97"/>
                <a:gd name="T63" fmla="*/ 4873755 h 70"/>
                <a:gd name="T64" fmla="*/ 27451945 w 97"/>
                <a:gd name="T65" fmla="*/ 9044174 h 70"/>
                <a:gd name="T66" fmla="*/ 28855392 w 97"/>
                <a:gd name="T67" fmla="*/ 10448473 h 70"/>
                <a:gd name="T68" fmla="*/ 27091642 w 97"/>
                <a:gd name="T69" fmla="*/ 12225705 h 70"/>
                <a:gd name="T70" fmla="*/ 28855392 w 97"/>
                <a:gd name="T71" fmla="*/ 11867487 h 70"/>
                <a:gd name="T72" fmla="*/ 31961899 w 97"/>
                <a:gd name="T73" fmla="*/ 13557454 h 70"/>
                <a:gd name="T74" fmla="*/ 31961899 w 97"/>
                <a:gd name="T75" fmla="*/ 15322838 h 70"/>
                <a:gd name="T76" fmla="*/ 33737377 w 97"/>
                <a:gd name="T77" fmla="*/ 13557454 h 70"/>
                <a:gd name="T78" fmla="*/ 33737377 w 97"/>
                <a:gd name="T79" fmla="*/ 17026911 h 70"/>
                <a:gd name="T80" fmla="*/ 30974065 w 97"/>
                <a:gd name="T81" fmla="*/ 17026911 h 70"/>
                <a:gd name="T82" fmla="*/ 32319226 w 97"/>
                <a:gd name="T83" fmla="*/ 18431208 h 7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7"/>
                <a:gd name="T127" fmla="*/ 0 h 70"/>
                <a:gd name="T128" fmla="*/ 97 w 97"/>
                <a:gd name="T129" fmla="*/ 70 h 7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7" h="70">
                  <a:moveTo>
                    <a:pt x="93" y="53"/>
                  </a:moveTo>
                  <a:lnTo>
                    <a:pt x="92" y="58"/>
                  </a:lnTo>
                  <a:lnTo>
                    <a:pt x="84" y="58"/>
                  </a:lnTo>
                  <a:lnTo>
                    <a:pt x="74" y="65"/>
                  </a:lnTo>
                  <a:lnTo>
                    <a:pt x="74" y="58"/>
                  </a:lnTo>
                  <a:lnTo>
                    <a:pt x="70" y="58"/>
                  </a:lnTo>
                  <a:lnTo>
                    <a:pt x="65" y="58"/>
                  </a:lnTo>
                  <a:lnTo>
                    <a:pt x="60" y="58"/>
                  </a:lnTo>
                  <a:lnTo>
                    <a:pt x="56" y="65"/>
                  </a:lnTo>
                  <a:lnTo>
                    <a:pt x="51" y="65"/>
                  </a:lnTo>
                  <a:lnTo>
                    <a:pt x="51" y="70"/>
                  </a:lnTo>
                  <a:lnTo>
                    <a:pt x="46" y="70"/>
                  </a:lnTo>
                  <a:lnTo>
                    <a:pt x="37" y="65"/>
                  </a:lnTo>
                  <a:lnTo>
                    <a:pt x="28" y="65"/>
                  </a:lnTo>
                  <a:lnTo>
                    <a:pt x="19" y="65"/>
                  </a:lnTo>
                  <a:lnTo>
                    <a:pt x="14" y="65"/>
                  </a:lnTo>
                  <a:lnTo>
                    <a:pt x="9" y="53"/>
                  </a:lnTo>
                  <a:lnTo>
                    <a:pt x="0" y="53"/>
                  </a:lnTo>
                  <a:lnTo>
                    <a:pt x="0" y="39"/>
                  </a:lnTo>
                  <a:lnTo>
                    <a:pt x="5" y="35"/>
                  </a:lnTo>
                  <a:lnTo>
                    <a:pt x="5" y="26"/>
                  </a:lnTo>
                  <a:lnTo>
                    <a:pt x="9" y="26"/>
                  </a:lnTo>
                  <a:lnTo>
                    <a:pt x="9" y="14"/>
                  </a:lnTo>
                  <a:lnTo>
                    <a:pt x="14" y="10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37" y="5"/>
                  </a:lnTo>
                  <a:lnTo>
                    <a:pt x="42" y="5"/>
                  </a:lnTo>
                  <a:lnTo>
                    <a:pt x="51" y="5"/>
                  </a:lnTo>
                  <a:lnTo>
                    <a:pt x="60" y="10"/>
                  </a:lnTo>
                  <a:lnTo>
                    <a:pt x="70" y="10"/>
                  </a:lnTo>
                  <a:lnTo>
                    <a:pt x="74" y="14"/>
                  </a:lnTo>
                  <a:lnTo>
                    <a:pt x="79" y="26"/>
                  </a:lnTo>
                  <a:lnTo>
                    <a:pt x="83" y="30"/>
                  </a:lnTo>
                  <a:lnTo>
                    <a:pt x="78" y="35"/>
                  </a:lnTo>
                  <a:lnTo>
                    <a:pt x="83" y="34"/>
                  </a:lnTo>
                  <a:lnTo>
                    <a:pt x="92" y="39"/>
                  </a:lnTo>
                  <a:lnTo>
                    <a:pt x="92" y="44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89" y="49"/>
                  </a:lnTo>
                  <a:lnTo>
                    <a:pt x="93" y="53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Freeform 118">
              <a:extLst>
                <a:ext uri="{FF2B5EF4-FFF2-40B4-BE49-F238E27FC236}">
                  <a16:creationId xmlns:a16="http://schemas.microsoft.com/office/drawing/2014/main" id="{6AD7358C-9F3A-0CBA-37B9-6B6EA04BC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3696" y="2957973"/>
              <a:ext cx="333911" cy="212254"/>
            </a:xfrm>
            <a:custGeom>
              <a:avLst/>
              <a:gdLst>
                <a:gd name="T0" fmla="*/ 0 w 84"/>
                <a:gd name="T1" fmla="*/ 6984641 h 55"/>
                <a:gd name="T2" fmla="*/ 2151301 w 84"/>
                <a:gd name="T3" fmla="*/ 5221718 h 55"/>
                <a:gd name="T4" fmla="*/ 2151301 w 84"/>
                <a:gd name="T5" fmla="*/ 2404810 h 55"/>
                <a:gd name="T6" fmla="*/ 10628448 w 84"/>
                <a:gd name="T7" fmla="*/ 2404810 h 55"/>
                <a:gd name="T8" fmla="*/ 13510137 w 84"/>
                <a:gd name="T9" fmla="*/ 4164846 h 55"/>
                <a:gd name="T10" fmla="*/ 15225994 w 84"/>
                <a:gd name="T11" fmla="*/ 3807644 h 55"/>
                <a:gd name="T12" fmla="*/ 15225994 w 84"/>
                <a:gd name="T13" fmla="*/ 2404810 h 55"/>
                <a:gd name="T14" fmla="*/ 17027597 w 84"/>
                <a:gd name="T15" fmla="*/ 2404810 h 55"/>
                <a:gd name="T16" fmla="*/ 18466955 w 84"/>
                <a:gd name="T17" fmla="*/ 0 h 55"/>
                <a:gd name="T18" fmla="*/ 23426040 w 84"/>
                <a:gd name="T19" fmla="*/ 0 h 55"/>
                <a:gd name="T20" fmla="*/ 23426040 w 84"/>
                <a:gd name="T21" fmla="*/ 2404810 h 55"/>
                <a:gd name="T22" fmla="*/ 26946503 w 84"/>
                <a:gd name="T23" fmla="*/ 0 h 55"/>
                <a:gd name="T24" fmla="*/ 29810338 w 84"/>
                <a:gd name="T25" fmla="*/ 0 h 55"/>
                <a:gd name="T26" fmla="*/ 28020582 w 84"/>
                <a:gd name="T27" fmla="*/ 2404810 h 55"/>
                <a:gd name="T28" fmla="*/ 28020582 w 84"/>
                <a:gd name="T29" fmla="*/ 13536698 h 55"/>
                <a:gd name="T30" fmla="*/ 26655154 w 84"/>
                <a:gd name="T31" fmla="*/ 13536698 h 55"/>
                <a:gd name="T32" fmla="*/ 26655154 w 84"/>
                <a:gd name="T33" fmla="*/ 15999289 h 55"/>
                <a:gd name="T34" fmla="*/ 23064496 w 84"/>
                <a:gd name="T35" fmla="*/ 19104366 h 55"/>
                <a:gd name="T36" fmla="*/ 19908704 w 84"/>
                <a:gd name="T37" fmla="*/ 19104366 h 55"/>
                <a:gd name="T38" fmla="*/ 23064496 w 84"/>
                <a:gd name="T39" fmla="*/ 15999289 h 55"/>
                <a:gd name="T40" fmla="*/ 21259899 w 84"/>
                <a:gd name="T41" fmla="*/ 13536698 h 55"/>
                <a:gd name="T42" fmla="*/ 18104690 w 84"/>
                <a:gd name="T43" fmla="*/ 13536698 h 55"/>
                <a:gd name="T44" fmla="*/ 11705540 w 84"/>
                <a:gd name="T45" fmla="*/ 6984641 h 55"/>
                <a:gd name="T46" fmla="*/ 0 w 84"/>
                <a:gd name="T47" fmla="*/ 6984641 h 5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4"/>
                <a:gd name="T73" fmla="*/ 0 h 55"/>
                <a:gd name="T74" fmla="*/ 84 w 84"/>
                <a:gd name="T75" fmla="*/ 55 h 5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4" h="55">
                  <a:moveTo>
                    <a:pt x="0" y="20"/>
                  </a:moveTo>
                  <a:lnTo>
                    <a:pt x="6" y="15"/>
                  </a:lnTo>
                  <a:lnTo>
                    <a:pt x="6" y="7"/>
                  </a:lnTo>
                  <a:lnTo>
                    <a:pt x="30" y="7"/>
                  </a:lnTo>
                  <a:lnTo>
                    <a:pt x="38" y="12"/>
                  </a:lnTo>
                  <a:lnTo>
                    <a:pt x="43" y="11"/>
                  </a:lnTo>
                  <a:lnTo>
                    <a:pt x="43" y="7"/>
                  </a:lnTo>
                  <a:lnTo>
                    <a:pt x="48" y="7"/>
                  </a:lnTo>
                  <a:lnTo>
                    <a:pt x="52" y="0"/>
                  </a:lnTo>
                  <a:lnTo>
                    <a:pt x="66" y="0"/>
                  </a:lnTo>
                  <a:lnTo>
                    <a:pt x="66" y="7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79" y="7"/>
                  </a:lnTo>
                  <a:cubicBezTo>
                    <a:pt x="79" y="17"/>
                    <a:pt x="79" y="28"/>
                    <a:pt x="79" y="39"/>
                  </a:cubicBezTo>
                  <a:lnTo>
                    <a:pt x="75" y="39"/>
                  </a:lnTo>
                  <a:lnTo>
                    <a:pt x="75" y="46"/>
                  </a:lnTo>
                  <a:lnTo>
                    <a:pt x="65" y="55"/>
                  </a:lnTo>
                  <a:lnTo>
                    <a:pt x="56" y="55"/>
                  </a:lnTo>
                  <a:lnTo>
                    <a:pt x="65" y="46"/>
                  </a:lnTo>
                  <a:lnTo>
                    <a:pt x="60" y="39"/>
                  </a:lnTo>
                  <a:lnTo>
                    <a:pt x="51" y="39"/>
                  </a:lnTo>
                  <a:lnTo>
                    <a:pt x="33" y="20"/>
                  </a:lnTo>
                  <a:lnTo>
                    <a:pt x="0" y="20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Freeform 119">
              <a:extLst>
                <a:ext uri="{FF2B5EF4-FFF2-40B4-BE49-F238E27FC236}">
                  <a16:creationId xmlns:a16="http://schemas.microsoft.com/office/drawing/2014/main" id="{A862FC5F-F130-BE5B-D546-1B861C139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154" y="3034729"/>
              <a:ext cx="457821" cy="393961"/>
            </a:xfrm>
            <a:custGeom>
              <a:avLst/>
              <a:gdLst>
                <a:gd name="T0" fmla="*/ 32307406 w 115"/>
                <a:gd name="T1" fmla="*/ 21700350 h 102"/>
                <a:gd name="T2" fmla="*/ 29843072 w 115"/>
                <a:gd name="T3" fmla="*/ 24462056 h 102"/>
                <a:gd name="T4" fmla="*/ 26204640 w 115"/>
                <a:gd name="T5" fmla="*/ 27655632 h 102"/>
                <a:gd name="T6" fmla="*/ 26936958 w 115"/>
                <a:gd name="T7" fmla="*/ 26246877 h 102"/>
                <a:gd name="T8" fmla="*/ 28389797 w 115"/>
                <a:gd name="T9" fmla="*/ 25182431 h 102"/>
                <a:gd name="T10" fmla="*/ 30560487 w 115"/>
                <a:gd name="T11" fmla="*/ 22406464 h 102"/>
                <a:gd name="T12" fmla="*/ 33392226 w 115"/>
                <a:gd name="T13" fmla="*/ 19212903 h 102"/>
                <a:gd name="T14" fmla="*/ 32307406 w 115"/>
                <a:gd name="T15" fmla="*/ 18148456 h 102"/>
                <a:gd name="T16" fmla="*/ 34113203 w 115"/>
                <a:gd name="T17" fmla="*/ 17515643 h 102"/>
                <a:gd name="T18" fmla="*/ 36298321 w 115"/>
                <a:gd name="T19" fmla="*/ 17156699 h 102"/>
                <a:gd name="T20" fmla="*/ 34477660 w 115"/>
                <a:gd name="T21" fmla="*/ 18509808 h 102"/>
                <a:gd name="T22" fmla="*/ 34113203 w 115"/>
                <a:gd name="T23" fmla="*/ 20277458 h 102"/>
                <a:gd name="T24" fmla="*/ 32307406 w 115"/>
                <a:gd name="T25" fmla="*/ 21700350 h 102"/>
                <a:gd name="T26" fmla="*/ 36298321 w 115"/>
                <a:gd name="T27" fmla="*/ 20277458 h 102"/>
                <a:gd name="T28" fmla="*/ 38045359 w 115"/>
                <a:gd name="T29" fmla="*/ 15389631 h 102"/>
                <a:gd name="T30" fmla="*/ 41300889 w 115"/>
                <a:gd name="T31" fmla="*/ 12266001 h 102"/>
                <a:gd name="T32" fmla="*/ 39498159 w 115"/>
                <a:gd name="T33" fmla="*/ 12266001 h 102"/>
                <a:gd name="T34" fmla="*/ 38045359 w 115"/>
                <a:gd name="T35" fmla="*/ 12266001 h 102"/>
                <a:gd name="T36" fmla="*/ 39498159 w 115"/>
                <a:gd name="T37" fmla="*/ 10498924 h 102"/>
                <a:gd name="T38" fmla="*/ 41300889 w 115"/>
                <a:gd name="T39" fmla="*/ 9075446 h 102"/>
                <a:gd name="T40" fmla="*/ 39498159 w 115"/>
                <a:gd name="T41" fmla="*/ 6672641 h 102"/>
                <a:gd name="T42" fmla="*/ 36298321 w 115"/>
                <a:gd name="T43" fmla="*/ 6672641 h 102"/>
                <a:gd name="T44" fmla="*/ 29843072 w 115"/>
                <a:gd name="T45" fmla="*/ 0 h 102"/>
                <a:gd name="T46" fmla="*/ 17928596 w 115"/>
                <a:gd name="T47" fmla="*/ 0 h 102"/>
                <a:gd name="T48" fmla="*/ 16549559 w 115"/>
                <a:gd name="T49" fmla="*/ 1770067 h 102"/>
                <a:gd name="T50" fmla="*/ 13278482 w 115"/>
                <a:gd name="T51" fmla="*/ 1770067 h 102"/>
                <a:gd name="T52" fmla="*/ 8276041 w 115"/>
                <a:gd name="T53" fmla="*/ 6672641 h 102"/>
                <a:gd name="T54" fmla="*/ 5002569 w 115"/>
                <a:gd name="T55" fmla="*/ 12266001 h 102"/>
                <a:gd name="T56" fmla="*/ 3270439 w 115"/>
                <a:gd name="T57" fmla="*/ 12266001 h 102"/>
                <a:gd name="T58" fmla="*/ 0 w 115"/>
                <a:gd name="T59" fmla="*/ 15389631 h 102"/>
                <a:gd name="T60" fmla="*/ 0 w 115"/>
                <a:gd name="T61" fmla="*/ 17156699 h 102"/>
                <a:gd name="T62" fmla="*/ 1820676 w 115"/>
                <a:gd name="T63" fmla="*/ 18509808 h 102"/>
                <a:gd name="T64" fmla="*/ 1820676 w 115"/>
                <a:gd name="T65" fmla="*/ 17156699 h 102"/>
                <a:gd name="T66" fmla="*/ 5002569 w 115"/>
                <a:gd name="T67" fmla="*/ 17156699 h 102"/>
                <a:gd name="T68" fmla="*/ 5002569 w 115"/>
                <a:gd name="T69" fmla="*/ 18509808 h 102"/>
                <a:gd name="T70" fmla="*/ 6823246 w 115"/>
                <a:gd name="T71" fmla="*/ 20277458 h 102"/>
                <a:gd name="T72" fmla="*/ 6823246 w 115"/>
                <a:gd name="T73" fmla="*/ 21700350 h 102"/>
                <a:gd name="T74" fmla="*/ 8276041 w 115"/>
                <a:gd name="T75" fmla="*/ 21700350 h 102"/>
                <a:gd name="T76" fmla="*/ 10093679 w 115"/>
                <a:gd name="T77" fmla="*/ 20277458 h 102"/>
                <a:gd name="T78" fmla="*/ 13278482 w 115"/>
                <a:gd name="T79" fmla="*/ 24117866 h 102"/>
                <a:gd name="T80" fmla="*/ 14731896 w 115"/>
                <a:gd name="T81" fmla="*/ 24117866 h 102"/>
                <a:gd name="T82" fmla="*/ 16549559 w 115"/>
                <a:gd name="T83" fmla="*/ 25885566 h 102"/>
                <a:gd name="T84" fmla="*/ 17928596 w 115"/>
                <a:gd name="T85" fmla="*/ 27655632 h 102"/>
                <a:gd name="T86" fmla="*/ 21567004 w 115"/>
                <a:gd name="T87" fmla="*/ 30776381 h 102"/>
                <a:gd name="T88" fmla="*/ 21567004 w 115"/>
                <a:gd name="T89" fmla="*/ 32546329 h 102"/>
                <a:gd name="T90" fmla="*/ 19749366 w 115"/>
                <a:gd name="T91" fmla="*/ 32546329 h 102"/>
                <a:gd name="T92" fmla="*/ 19749366 w 115"/>
                <a:gd name="T93" fmla="*/ 33896440 h 102"/>
                <a:gd name="T94" fmla="*/ 21567004 w 115"/>
                <a:gd name="T95" fmla="*/ 35667098 h 102"/>
                <a:gd name="T96" fmla="*/ 24751840 w 115"/>
                <a:gd name="T97" fmla="*/ 32546329 h 102"/>
                <a:gd name="T98" fmla="*/ 26572026 w 115"/>
                <a:gd name="T99" fmla="*/ 29367646 h 102"/>
                <a:gd name="T100" fmla="*/ 28022411 w 115"/>
                <a:gd name="T101" fmla="*/ 27655632 h 102"/>
                <a:gd name="T102" fmla="*/ 31222110 w 115"/>
                <a:gd name="T103" fmla="*/ 24823980 h 102"/>
                <a:gd name="T104" fmla="*/ 36298321 w 115"/>
                <a:gd name="T105" fmla="*/ 20277458 h 102"/>
                <a:gd name="T106" fmla="*/ 36298321 w 115"/>
                <a:gd name="T107" fmla="*/ 20277458 h 1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5"/>
                <a:gd name="T163" fmla="*/ 0 h 102"/>
                <a:gd name="T164" fmla="*/ 115 w 115"/>
                <a:gd name="T165" fmla="*/ 102 h 10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5" h="102">
                  <a:moveTo>
                    <a:pt x="90" y="62"/>
                  </a:moveTo>
                  <a:lnTo>
                    <a:pt x="83" y="70"/>
                  </a:lnTo>
                  <a:lnTo>
                    <a:pt x="73" y="79"/>
                  </a:lnTo>
                  <a:lnTo>
                    <a:pt x="75" y="75"/>
                  </a:lnTo>
                  <a:lnTo>
                    <a:pt x="79" y="72"/>
                  </a:lnTo>
                  <a:lnTo>
                    <a:pt x="85" y="64"/>
                  </a:lnTo>
                  <a:lnTo>
                    <a:pt x="93" y="55"/>
                  </a:lnTo>
                  <a:lnTo>
                    <a:pt x="90" y="52"/>
                  </a:lnTo>
                  <a:lnTo>
                    <a:pt x="95" y="50"/>
                  </a:lnTo>
                  <a:lnTo>
                    <a:pt x="101" y="49"/>
                  </a:lnTo>
                  <a:lnTo>
                    <a:pt x="96" y="53"/>
                  </a:lnTo>
                  <a:lnTo>
                    <a:pt x="95" y="58"/>
                  </a:lnTo>
                  <a:lnTo>
                    <a:pt x="90" y="62"/>
                  </a:lnTo>
                  <a:moveTo>
                    <a:pt x="101" y="58"/>
                  </a:moveTo>
                  <a:lnTo>
                    <a:pt x="106" y="44"/>
                  </a:lnTo>
                  <a:lnTo>
                    <a:pt x="115" y="35"/>
                  </a:lnTo>
                  <a:lnTo>
                    <a:pt x="110" y="35"/>
                  </a:lnTo>
                  <a:lnTo>
                    <a:pt x="106" y="35"/>
                  </a:lnTo>
                  <a:lnTo>
                    <a:pt x="110" y="30"/>
                  </a:lnTo>
                  <a:lnTo>
                    <a:pt x="115" y="26"/>
                  </a:lnTo>
                  <a:lnTo>
                    <a:pt x="110" y="19"/>
                  </a:lnTo>
                  <a:lnTo>
                    <a:pt x="101" y="19"/>
                  </a:lnTo>
                  <a:lnTo>
                    <a:pt x="83" y="0"/>
                  </a:lnTo>
                  <a:lnTo>
                    <a:pt x="50" y="0"/>
                  </a:lnTo>
                  <a:lnTo>
                    <a:pt x="46" y="5"/>
                  </a:lnTo>
                  <a:lnTo>
                    <a:pt x="37" y="5"/>
                  </a:lnTo>
                  <a:lnTo>
                    <a:pt x="23" y="19"/>
                  </a:lnTo>
                  <a:lnTo>
                    <a:pt x="14" y="35"/>
                  </a:lnTo>
                  <a:lnTo>
                    <a:pt x="9" y="35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14" y="49"/>
                  </a:lnTo>
                  <a:lnTo>
                    <a:pt x="14" y="53"/>
                  </a:lnTo>
                  <a:lnTo>
                    <a:pt x="19" y="58"/>
                  </a:lnTo>
                  <a:lnTo>
                    <a:pt x="19" y="62"/>
                  </a:lnTo>
                  <a:lnTo>
                    <a:pt x="23" y="62"/>
                  </a:lnTo>
                  <a:lnTo>
                    <a:pt x="28" y="58"/>
                  </a:lnTo>
                  <a:lnTo>
                    <a:pt x="37" y="69"/>
                  </a:lnTo>
                  <a:lnTo>
                    <a:pt x="41" y="69"/>
                  </a:lnTo>
                  <a:lnTo>
                    <a:pt x="46" y="74"/>
                  </a:lnTo>
                  <a:lnTo>
                    <a:pt x="50" y="79"/>
                  </a:lnTo>
                  <a:lnTo>
                    <a:pt x="60" y="88"/>
                  </a:lnTo>
                  <a:lnTo>
                    <a:pt x="60" y="93"/>
                  </a:lnTo>
                  <a:lnTo>
                    <a:pt x="55" y="93"/>
                  </a:lnTo>
                  <a:lnTo>
                    <a:pt x="55" y="97"/>
                  </a:lnTo>
                  <a:lnTo>
                    <a:pt x="60" y="102"/>
                  </a:lnTo>
                  <a:lnTo>
                    <a:pt x="69" y="93"/>
                  </a:lnTo>
                  <a:lnTo>
                    <a:pt x="74" y="84"/>
                  </a:lnTo>
                  <a:lnTo>
                    <a:pt x="78" y="79"/>
                  </a:lnTo>
                  <a:lnTo>
                    <a:pt x="87" y="71"/>
                  </a:lnTo>
                  <a:lnTo>
                    <a:pt x="101" y="58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Freeform 120">
              <a:extLst>
                <a:ext uri="{FF2B5EF4-FFF2-40B4-BE49-F238E27FC236}">
                  <a16:creationId xmlns:a16="http://schemas.microsoft.com/office/drawing/2014/main" id="{CE6F1A1B-65A9-6C0E-0970-18B69DC06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0018" y="2110525"/>
              <a:ext cx="452993" cy="436255"/>
            </a:xfrm>
            <a:custGeom>
              <a:avLst/>
              <a:gdLst>
                <a:gd name="T0" fmla="*/ 38910865 w 114"/>
                <a:gd name="T1" fmla="*/ 1763433 h 113"/>
                <a:gd name="T2" fmla="*/ 37186367 w 114"/>
                <a:gd name="T3" fmla="*/ 1763433 h 113"/>
                <a:gd name="T4" fmla="*/ 33963460 w 114"/>
                <a:gd name="T5" fmla="*/ 1763433 h 113"/>
                <a:gd name="T6" fmla="*/ 31528199 w 114"/>
                <a:gd name="T7" fmla="*/ 1763433 h 113"/>
                <a:gd name="T8" fmla="*/ 29741771 w 114"/>
                <a:gd name="T9" fmla="*/ 0 h 113"/>
                <a:gd name="T10" fmla="*/ 26157753 w 114"/>
                <a:gd name="T11" fmla="*/ 0 h 113"/>
                <a:gd name="T12" fmla="*/ 24433235 w 114"/>
                <a:gd name="T13" fmla="*/ 1763433 h 113"/>
                <a:gd name="T14" fmla="*/ 21574954 w 114"/>
                <a:gd name="T15" fmla="*/ 1763433 h 113"/>
                <a:gd name="T16" fmla="*/ 20209161 w 114"/>
                <a:gd name="T17" fmla="*/ 0 h 113"/>
                <a:gd name="T18" fmla="*/ 16263421 w 114"/>
                <a:gd name="T19" fmla="*/ 0 h 113"/>
                <a:gd name="T20" fmla="*/ 16263421 w 114"/>
                <a:gd name="T21" fmla="*/ 1419823 h 113"/>
                <a:gd name="T22" fmla="*/ 14480015 w 114"/>
                <a:gd name="T23" fmla="*/ 1763433 h 113"/>
                <a:gd name="T24" fmla="*/ 13114237 w 114"/>
                <a:gd name="T25" fmla="*/ 5578188 h 113"/>
                <a:gd name="T26" fmla="*/ 11316006 w 114"/>
                <a:gd name="T27" fmla="*/ 10469739 h 113"/>
                <a:gd name="T28" fmla="*/ 9533215 w 114"/>
                <a:gd name="T29" fmla="*/ 13569152 h 113"/>
                <a:gd name="T30" fmla="*/ 8166829 w 114"/>
                <a:gd name="T31" fmla="*/ 13569152 h 113"/>
                <a:gd name="T32" fmla="*/ 6733229 w 114"/>
                <a:gd name="T33" fmla="*/ 18460705 h 113"/>
                <a:gd name="T34" fmla="*/ 4947407 w 114"/>
                <a:gd name="T35" fmla="*/ 18460705 h 113"/>
                <a:gd name="T36" fmla="*/ 3510903 w 114"/>
                <a:gd name="T37" fmla="*/ 22619074 h 113"/>
                <a:gd name="T38" fmla="*/ 361115 w 114"/>
                <a:gd name="T39" fmla="*/ 24038881 h 113"/>
                <a:gd name="T40" fmla="*/ 361115 w 114"/>
                <a:gd name="T41" fmla="*/ 27496026 h 113"/>
                <a:gd name="T42" fmla="*/ 0 w 114"/>
                <a:gd name="T43" fmla="*/ 30336134 h 113"/>
                <a:gd name="T44" fmla="*/ 0 w 114"/>
                <a:gd name="T45" fmla="*/ 32029867 h 113"/>
                <a:gd name="T46" fmla="*/ 1783401 w 114"/>
                <a:gd name="T47" fmla="*/ 32029867 h 113"/>
                <a:gd name="T48" fmla="*/ 0 w 114"/>
                <a:gd name="T49" fmla="*/ 34150903 h 113"/>
                <a:gd name="T50" fmla="*/ 1783401 w 114"/>
                <a:gd name="T51" fmla="*/ 34497505 h 113"/>
                <a:gd name="T52" fmla="*/ 7094927 w 114"/>
                <a:gd name="T53" fmla="*/ 36275054 h 113"/>
                <a:gd name="T54" fmla="*/ 9894330 w 114"/>
                <a:gd name="T55" fmla="*/ 37608028 h 113"/>
                <a:gd name="T56" fmla="*/ 11680612 w 114"/>
                <a:gd name="T57" fmla="*/ 39389048 h 113"/>
                <a:gd name="T58" fmla="*/ 13464018 w 114"/>
                <a:gd name="T59" fmla="*/ 37608028 h 113"/>
                <a:gd name="T60" fmla="*/ 14826932 w 114"/>
                <a:gd name="T61" fmla="*/ 34497505 h 113"/>
                <a:gd name="T62" fmla="*/ 21574954 w 114"/>
                <a:gd name="T63" fmla="*/ 34497505 h 113"/>
                <a:gd name="T64" fmla="*/ 22996638 w 114"/>
                <a:gd name="T65" fmla="*/ 32387589 h 113"/>
                <a:gd name="T66" fmla="*/ 26507544 w 114"/>
                <a:gd name="T67" fmla="*/ 34497505 h 113"/>
                <a:gd name="T68" fmla="*/ 29741771 w 114"/>
                <a:gd name="T69" fmla="*/ 34497505 h 113"/>
                <a:gd name="T70" fmla="*/ 32891587 w 114"/>
                <a:gd name="T71" fmla="*/ 30682618 h 113"/>
                <a:gd name="T72" fmla="*/ 32891587 w 114"/>
                <a:gd name="T73" fmla="*/ 28916327 h 113"/>
                <a:gd name="T74" fmla="*/ 31528199 w 114"/>
                <a:gd name="T75" fmla="*/ 28916327 h 113"/>
                <a:gd name="T76" fmla="*/ 31528199 w 114"/>
                <a:gd name="T77" fmla="*/ 27496026 h 113"/>
                <a:gd name="T78" fmla="*/ 32891587 w 114"/>
                <a:gd name="T79" fmla="*/ 25805192 h 113"/>
                <a:gd name="T80" fmla="*/ 32891587 w 114"/>
                <a:gd name="T81" fmla="*/ 20928357 h 113"/>
                <a:gd name="T82" fmla="*/ 35400077 w 114"/>
                <a:gd name="T83" fmla="*/ 18460705 h 113"/>
                <a:gd name="T84" fmla="*/ 35400077 w 114"/>
                <a:gd name="T85" fmla="*/ 17113603 h 113"/>
                <a:gd name="T86" fmla="*/ 33602350 w 114"/>
                <a:gd name="T87" fmla="*/ 15347303 h 113"/>
                <a:gd name="T88" fmla="*/ 35400077 w 114"/>
                <a:gd name="T89" fmla="*/ 13569152 h 113"/>
                <a:gd name="T90" fmla="*/ 37186367 w 114"/>
                <a:gd name="T91" fmla="*/ 13569152 h 113"/>
                <a:gd name="T92" fmla="*/ 37186367 w 114"/>
                <a:gd name="T93" fmla="*/ 12236158 h 113"/>
                <a:gd name="T94" fmla="*/ 38910865 w 114"/>
                <a:gd name="T95" fmla="*/ 13569152 h 113"/>
                <a:gd name="T96" fmla="*/ 40332667 w 114"/>
                <a:gd name="T97" fmla="*/ 13569152 h 113"/>
                <a:gd name="T98" fmla="*/ 40332667 w 114"/>
                <a:gd name="T99" fmla="*/ 10469739 h 113"/>
                <a:gd name="T100" fmla="*/ 38910865 w 114"/>
                <a:gd name="T101" fmla="*/ 7359213 h 113"/>
                <a:gd name="T102" fmla="*/ 38910865 w 114"/>
                <a:gd name="T103" fmla="*/ 5578188 h 113"/>
                <a:gd name="T104" fmla="*/ 40332667 w 114"/>
                <a:gd name="T105" fmla="*/ 5578188 h 113"/>
                <a:gd name="T106" fmla="*/ 38910865 w 114"/>
                <a:gd name="T107" fmla="*/ 3113547 h 113"/>
                <a:gd name="T108" fmla="*/ 38910865 w 114"/>
                <a:gd name="T109" fmla="*/ 1763433 h 11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4"/>
                <a:gd name="T166" fmla="*/ 0 h 113"/>
                <a:gd name="T167" fmla="*/ 114 w 114"/>
                <a:gd name="T168" fmla="*/ 113 h 11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4" h="113">
                  <a:moveTo>
                    <a:pt x="110" y="5"/>
                  </a:moveTo>
                  <a:lnTo>
                    <a:pt x="105" y="5"/>
                  </a:lnTo>
                  <a:lnTo>
                    <a:pt x="96" y="5"/>
                  </a:lnTo>
                  <a:lnTo>
                    <a:pt x="89" y="5"/>
                  </a:lnTo>
                  <a:lnTo>
                    <a:pt x="84" y="0"/>
                  </a:lnTo>
                  <a:lnTo>
                    <a:pt x="74" y="0"/>
                  </a:lnTo>
                  <a:lnTo>
                    <a:pt x="69" y="5"/>
                  </a:lnTo>
                  <a:lnTo>
                    <a:pt x="61" y="5"/>
                  </a:lnTo>
                  <a:lnTo>
                    <a:pt x="57" y="0"/>
                  </a:lnTo>
                  <a:lnTo>
                    <a:pt x="46" y="0"/>
                  </a:lnTo>
                  <a:lnTo>
                    <a:pt x="46" y="4"/>
                  </a:lnTo>
                  <a:lnTo>
                    <a:pt x="41" y="5"/>
                  </a:lnTo>
                  <a:lnTo>
                    <a:pt x="37" y="16"/>
                  </a:lnTo>
                  <a:lnTo>
                    <a:pt x="32" y="30"/>
                  </a:lnTo>
                  <a:lnTo>
                    <a:pt x="27" y="39"/>
                  </a:lnTo>
                  <a:lnTo>
                    <a:pt x="23" y="39"/>
                  </a:lnTo>
                  <a:lnTo>
                    <a:pt x="19" y="53"/>
                  </a:lnTo>
                  <a:lnTo>
                    <a:pt x="14" y="53"/>
                  </a:lnTo>
                  <a:lnTo>
                    <a:pt x="10" y="65"/>
                  </a:lnTo>
                  <a:lnTo>
                    <a:pt x="1" y="69"/>
                  </a:lnTo>
                  <a:lnTo>
                    <a:pt x="1" y="79"/>
                  </a:lnTo>
                  <a:lnTo>
                    <a:pt x="0" y="87"/>
                  </a:lnTo>
                  <a:lnTo>
                    <a:pt x="0" y="92"/>
                  </a:lnTo>
                  <a:lnTo>
                    <a:pt x="5" y="92"/>
                  </a:lnTo>
                  <a:lnTo>
                    <a:pt x="0" y="98"/>
                  </a:lnTo>
                  <a:lnTo>
                    <a:pt x="5" y="99"/>
                  </a:lnTo>
                  <a:lnTo>
                    <a:pt x="20" y="104"/>
                  </a:lnTo>
                  <a:lnTo>
                    <a:pt x="28" y="108"/>
                  </a:lnTo>
                  <a:lnTo>
                    <a:pt x="33" y="113"/>
                  </a:lnTo>
                  <a:lnTo>
                    <a:pt x="38" y="108"/>
                  </a:lnTo>
                  <a:lnTo>
                    <a:pt x="42" y="99"/>
                  </a:lnTo>
                  <a:lnTo>
                    <a:pt x="61" y="99"/>
                  </a:lnTo>
                  <a:lnTo>
                    <a:pt x="65" y="93"/>
                  </a:lnTo>
                  <a:lnTo>
                    <a:pt x="75" y="99"/>
                  </a:lnTo>
                  <a:lnTo>
                    <a:pt x="84" y="99"/>
                  </a:lnTo>
                  <a:lnTo>
                    <a:pt x="93" y="88"/>
                  </a:lnTo>
                  <a:lnTo>
                    <a:pt x="93" y="83"/>
                  </a:lnTo>
                  <a:lnTo>
                    <a:pt x="89" y="83"/>
                  </a:lnTo>
                  <a:lnTo>
                    <a:pt x="89" y="79"/>
                  </a:lnTo>
                  <a:lnTo>
                    <a:pt x="93" y="74"/>
                  </a:lnTo>
                  <a:cubicBezTo>
                    <a:pt x="93" y="70"/>
                    <a:pt x="93" y="65"/>
                    <a:pt x="93" y="60"/>
                  </a:cubicBezTo>
                  <a:lnTo>
                    <a:pt x="100" y="53"/>
                  </a:lnTo>
                  <a:lnTo>
                    <a:pt x="100" y="49"/>
                  </a:lnTo>
                  <a:lnTo>
                    <a:pt x="95" y="44"/>
                  </a:lnTo>
                  <a:lnTo>
                    <a:pt x="100" y="39"/>
                  </a:lnTo>
                  <a:lnTo>
                    <a:pt x="105" y="39"/>
                  </a:lnTo>
                  <a:lnTo>
                    <a:pt x="105" y="35"/>
                  </a:lnTo>
                  <a:lnTo>
                    <a:pt x="110" y="39"/>
                  </a:lnTo>
                  <a:lnTo>
                    <a:pt x="114" y="39"/>
                  </a:lnTo>
                  <a:lnTo>
                    <a:pt x="114" y="30"/>
                  </a:lnTo>
                  <a:lnTo>
                    <a:pt x="110" y="21"/>
                  </a:lnTo>
                  <a:lnTo>
                    <a:pt x="110" y="16"/>
                  </a:lnTo>
                  <a:lnTo>
                    <a:pt x="114" y="16"/>
                  </a:lnTo>
                  <a:lnTo>
                    <a:pt x="110" y="9"/>
                  </a:lnTo>
                  <a:lnTo>
                    <a:pt x="110" y="5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Freeform 121">
              <a:extLst>
                <a:ext uri="{FF2B5EF4-FFF2-40B4-BE49-F238E27FC236}">
                  <a16:creationId xmlns:a16="http://schemas.microsoft.com/office/drawing/2014/main" id="{2D2274DB-E25F-16BD-D640-063A9AF5E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6457" y="1635108"/>
              <a:ext cx="321038" cy="498913"/>
            </a:xfrm>
            <a:custGeom>
              <a:avLst/>
              <a:gdLst>
                <a:gd name="T0" fmla="*/ 1757521 w 81"/>
                <a:gd name="T1" fmla="*/ 45595293 h 129"/>
                <a:gd name="T2" fmla="*/ 3100526 w 81"/>
                <a:gd name="T3" fmla="*/ 44884776 h 129"/>
                <a:gd name="T4" fmla="*/ 3100526 w 81"/>
                <a:gd name="T5" fmla="*/ 43102915 h 129"/>
                <a:gd name="T6" fmla="*/ 6615543 w 81"/>
                <a:gd name="T7" fmla="*/ 43102915 h 129"/>
                <a:gd name="T8" fmla="*/ 7958547 w 81"/>
                <a:gd name="T9" fmla="*/ 44884776 h 129"/>
                <a:gd name="T10" fmla="*/ 11113786 w 81"/>
                <a:gd name="T11" fmla="*/ 44884776 h 129"/>
                <a:gd name="T12" fmla="*/ 12816570 w 81"/>
                <a:gd name="T13" fmla="*/ 43102915 h 129"/>
                <a:gd name="T14" fmla="*/ 15971831 w 81"/>
                <a:gd name="T15" fmla="*/ 43102915 h 129"/>
                <a:gd name="T16" fmla="*/ 17656921 w 81"/>
                <a:gd name="T17" fmla="*/ 44884776 h 129"/>
                <a:gd name="T18" fmla="*/ 20130848 w 81"/>
                <a:gd name="T19" fmla="*/ 44884776 h 129"/>
                <a:gd name="T20" fmla="*/ 23231377 w 81"/>
                <a:gd name="T21" fmla="*/ 44884776 h 129"/>
                <a:gd name="T22" fmla="*/ 26673968 w 81"/>
                <a:gd name="T23" fmla="*/ 44884776 h 129"/>
                <a:gd name="T24" fmla="*/ 25687738 w 81"/>
                <a:gd name="T25" fmla="*/ 44174260 h 129"/>
                <a:gd name="T26" fmla="*/ 26317173 w 81"/>
                <a:gd name="T27" fmla="*/ 43102915 h 129"/>
                <a:gd name="T28" fmla="*/ 24986011 w 81"/>
                <a:gd name="T29" fmla="*/ 43102915 h 129"/>
                <a:gd name="T30" fmla="*/ 24986011 w 81"/>
                <a:gd name="T31" fmla="*/ 41737228 h 129"/>
                <a:gd name="T32" fmla="*/ 24986011 w 81"/>
                <a:gd name="T33" fmla="*/ 40304907 h 129"/>
                <a:gd name="T34" fmla="*/ 24986011 w 81"/>
                <a:gd name="T35" fmla="*/ 38519392 h 129"/>
                <a:gd name="T36" fmla="*/ 26317173 w 81"/>
                <a:gd name="T37" fmla="*/ 38519392 h 129"/>
                <a:gd name="T38" fmla="*/ 23231377 w 81"/>
                <a:gd name="T39" fmla="*/ 36796391 h 129"/>
                <a:gd name="T40" fmla="*/ 24986011 w 81"/>
                <a:gd name="T41" fmla="*/ 35360525 h 129"/>
                <a:gd name="T42" fmla="*/ 24986011 w 81"/>
                <a:gd name="T43" fmla="*/ 32503665 h 129"/>
                <a:gd name="T44" fmla="*/ 28071708 w 81"/>
                <a:gd name="T45" fmla="*/ 31141493 h 129"/>
                <a:gd name="T46" fmla="*/ 26317173 w 81"/>
                <a:gd name="T47" fmla="*/ 29356610 h 129"/>
                <a:gd name="T48" fmla="*/ 24986011 w 81"/>
                <a:gd name="T49" fmla="*/ 29356610 h 129"/>
                <a:gd name="T50" fmla="*/ 23231377 w 81"/>
                <a:gd name="T51" fmla="*/ 26123950 h 129"/>
                <a:gd name="T52" fmla="*/ 23231377 w 81"/>
                <a:gd name="T53" fmla="*/ 24415132 h 129"/>
                <a:gd name="T54" fmla="*/ 21459148 w 81"/>
                <a:gd name="T55" fmla="*/ 22615415 h 129"/>
                <a:gd name="T56" fmla="*/ 23231377 w 81"/>
                <a:gd name="T57" fmla="*/ 19832225 h 129"/>
                <a:gd name="T58" fmla="*/ 24986011 w 81"/>
                <a:gd name="T59" fmla="*/ 19832225 h 129"/>
                <a:gd name="T60" fmla="*/ 24986011 w 81"/>
                <a:gd name="T61" fmla="*/ 17325024 h 129"/>
                <a:gd name="T62" fmla="*/ 21459148 w 81"/>
                <a:gd name="T63" fmla="*/ 17325024 h 129"/>
                <a:gd name="T64" fmla="*/ 19072208 w 81"/>
                <a:gd name="T65" fmla="*/ 13816499 h 129"/>
                <a:gd name="T66" fmla="*/ 19072208 w 81"/>
                <a:gd name="T67" fmla="*/ 12034588 h 129"/>
                <a:gd name="T68" fmla="*/ 17656921 w 81"/>
                <a:gd name="T69" fmla="*/ 12034588 h 129"/>
                <a:gd name="T70" fmla="*/ 19072208 w 81"/>
                <a:gd name="T71" fmla="*/ 10598761 h 129"/>
                <a:gd name="T72" fmla="*/ 19429120 w 81"/>
                <a:gd name="T73" fmla="*/ 3147664 h 129"/>
                <a:gd name="T74" fmla="*/ 17656921 w 81"/>
                <a:gd name="T75" fmla="*/ 1781886 h 129"/>
                <a:gd name="T76" fmla="*/ 15971831 w 81"/>
                <a:gd name="T77" fmla="*/ 1781886 h 129"/>
                <a:gd name="T78" fmla="*/ 14214311 w 81"/>
                <a:gd name="T79" fmla="*/ 0 h 129"/>
                <a:gd name="T80" fmla="*/ 15971831 w 81"/>
                <a:gd name="T81" fmla="*/ 1781886 h 129"/>
                <a:gd name="T82" fmla="*/ 14571095 w 81"/>
                <a:gd name="T83" fmla="*/ 7090120 h 129"/>
                <a:gd name="T84" fmla="*/ 11113786 w 81"/>
                <a:gd name="T85" fmla="*/ 8798924 h 129"/>
                <a:gd name="T86" fmla="*/ 9716063 w 81"/>
                <a:gd name="T87" fmla="*/ 10598761 h 129"/>
                <a:gd name="T88" fmla="*/ 10058148 w 81"/>
                <a:gd name="T89" fmla="*/ 12034588 h 129"/>
                <a:gd name="T90" fmla="*/ 8300628 w 81"/>
                <a:gd name="T91" fmla="*/ 13816499 h 129"/>
                <a:gd name="T92" fmla="*/ 10058148 w 81"/>
                <a:gd name="T93" fmla="*/ 15178651 h 129"/>
                <a:gd name="T94" fmla="*/ 8300628 w 81"/>
                <a:gd name="T95" fmla="*/ 19832225 h 129"/>
                <a:gd name="T96" fmla="*/ 6615543 w 81"/>
                <a:gd name="T97" fmla="*/ 22979878 h 129"/>
                <a:gd name="T98" fmla="*/ 3100526 w 81"/>
                <a:gd name="T99" fmla="*/ 27923647 h 129"/>
                <a:gd name="T100" fmla="*/ 0 w 81"/>
                <a:gd name="T101" fmla="*/ 35360525 h 129"/>
                <a:gd name="T102" fmla="*/ 0 w 81"/>
                <a:gd name="T103" fmla="*/ 43102915 h 129"/>
                <a:gd name="T104" fmla="*/ 1415435 w 81"/>
                <a:gd name="T105" fmla="*/ 44884776 h 129"/>
                <a:gd name="T106" fmla="*/ 1757521 w 81"/>
                <a:gd name="T107" fmla="*/ 45595293 h 12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1"/>
                <a:gd name="T163" fmla="*/ 0 h 129"/>
                <a:gd name="T164" fmla="*/ 81 w 81"/>
                <a:gd name="T165" fmla="*/ 129 h 12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1" h="129">
                  <a:moveTo>
                    <a:pt x="5" y="129"/>
                  </a:moveTo>
                  <a:lnTo>
                    <a:pt x="9" y="127"/>
                  </a:lnTo>
                  <a:lnTo>
                    <a:pt x="9" y="122"/>
                  </a:lnTo>
                  <a:lnTo>
                    <a:pt x="19" y="122"/>
                  </a:lnTo>
                  <a:lnTo>
                    <a:pt x="23" y="127"/>
                  </a:lnTo>
                  <a:lnTo>
                    <a:pt x="32" y="127"/>
                  </a:lnTo>
                  <a:lnTo>
                    <a:pt x="37" y="122"/>
                  </a:lnTo>
                  <a:lnTo>
                    <a:pt x="46" y="122"/>
                  </a:lnTo>
                  <a:lnTo>
                    <a:pt x="51" y="127"/>
                  </a:lnTo>
                  <a:lnTo>
                    <a:pt x="58" y="127"/>
                  </a:lnTo>
                  <a:lnTo>
                    <a:pt x="67" y="127"/>
                  </a:lnTo>
                  <a:lnTo>
                    <a:pt x="77" y="127"/>
                  </a:lnTo>
                  <a:lnTo>
                    <a:pt x="74" y="125"/>
                  </a:lnTo>
                  <a:lnTo>
                    <a:pt x="76" y="122"/>
                  </a:lnTo>
                  <a:lnTo>
                    <a:pt x="72" y="122"/>
                  </a:lnTo>
                  <a:lnTo>
                    <a:pt x="72" y="118"/>
                  </a:lnTo>
                  <a:lnTo>
                    <a:pt x="72" y="114"/>
                  </a:lnTo>
                  <a:lnTo>
                    <a:pt x="72" y="109"/>
                  </a:lnTo>
                  <a:lnTo>
                    <a:pt x="76" y="109"/>
                  </a:lnTo>
                  <a:lnTo>
                    <a:pt x="67" y="104"/>
                  </a:lnTo>
                  <a:lnTo>
                    <a:pt x="72" y="100"/>
                  </a:lnTo>
                  <a:lnTo>
                    <a:pt x="72" y="92"/>
                  </a:lnTo>
                  <a:lnTo>
                    <a:pt x="81" y="88"/>
                  </a:lnTo>
                  <a:lnTo>
                    <a:pt x="76" y="83"/>
                  </a:lnTo>
                  <a:lnTo>
                    <a:pt x="72" y="83"/>
                  </a:lnTo>
                  <a:lnTo>
                    <a:pt x="67" y="74"/>
                  </a:lnTo>
                  <a:lnTo>
                    <a:pt x="67" y="69"/>
                  </a:lnTo>
                  <a:lnTo>
                    <a:pt x="62" y="64"/>
                  </a:lnTo>
                  <a:lnTo>
                    <a:pt x="67" y="56"/>
                  </a:lnTo>
                  <a:lnTo>
                    <a:pt x="72" y="56"/>
                  </a:lnTo>
                  <a:lnTo>
                    <a:pt x="72" y="49"/>
                  </a:lnTo>
                  <a:lnTo>
                    <a:pt x="62" y="49"/>
                  </a:lnTo>
                  <a:lnTo>
                    <a:pt x="55" y="39"/>
                  </a:lnTo>
                  <a:lnTo>
                    <a:pt x="55" y="34"/>
                  </a:lnTo>
                  <a:lnTo>
                    <a:pt x="51" y="34"/>
                  </a:lnTo>
                  <a:lnTo>
                    <a:pt x="55" y="30"/>
                  </a:lnTo>
                  <a:lnTo>
                    <a:pt x="56" y="9"/>
                  </a:lnTo>
                  <a:lnTo>
                    <a:pt x="51" y="5"/>
                  </a:lnTo>
                  <a:lnTo>
                    <a:pt x="46" y="5"/>
                  </a:lnTo>
                  <a:lnTo>
                    <a:pt x="41" y="0"/>
                  </a:lnTo>
                  <a:lnTo>
                    <a:pt x="46" y="5"/>
                  </a:lnTo>
                  <a:lnTo>
                    <a:pt x="42" y="20"/>
                  </a:lnTo>
                  <a:lnTo>
                    <a:pt x="32" y="25"/>
                  </a:lnTo>
                  <a:lnTo>
                    <a:pt x="28" y="30"/>
                  </a:lnTo>
                  <a:lnTo>
                    <a:pt x="29" y="34"/>
                  </a:lnTo>
                  <a:lnTo>
                    <a:pt x="24" y="39"/>
                  </a:lnTo>
                  <a:lnTo>
                    <a:pt x="29" y="43"/>
                  </a:lnTo>
                  <a:lnTo>
                    <a:pt x="24" y="56"/>
                  </a:lnTo>
                  <a:lnTo>
                    <a:pt x="19" y="65"/>
                  </a:lnTo>
                  <a:lnTo>
                    <a:pt x="9" y="79"/>
                  </a:lnTo>
                  <a:lnTo>
                    <a:pt x="0" y="100"/>
                  </a:lnTo>
                  <a:lnTo>
                    <a:pt x="0" y="122"/>
                  </a:lnTo>
                  <a:lnTo>
                    <a:pt x="4" y="127"/>
                  </a:lnTo>
                  <a:lnTo>
                    <a:pt x="5" y="129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Freeform 122">
              <a:extLst>
                <a:ext uri="{FF2B5EF4-FFF2-40B4-BE49-F238E27FC236}">
                  <a16:creationId xmlns:a16="http://schemas.microsoft.com/office/drawing/2014/main" id="{CE40103F-5EC7-88B6-96C6-65BD5FD2C2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464" y="2396402"/>
              <a:ext cx="432878" cy="452703"/>
            </a:xfrm>
            <a:custGeom>
              <a:avLst/>
              <a:gdLst>
                <a:gd name="T0" fmla="*/ 24695091 w 109"/>
                <a:gd name="T1" fmla="*/ 33679221 h 117"/>
                <a:gd name="T2" fmla="*/ 27472039 w 109"/>
                <a:gd name="T3" fmla="*/ 30875102 h 117"/>
                <a:gd name="T4" fmla="*/ 30263893 w 109"/>
                <a:gd name="T5" fmla="*/ 29086365 h 117"/>
                <a:gd name="T6" fmla="*/ 32042057 w 109"/>
                <a:gd name="T7" fmla="*/ 25917167 h 117"/>
                <a:gd name="T8" fmla="*/ 33834435 w 109"/>
                <a:gd name="T9" fmla="*/ 24130881 h 117"/>
                <a:gd name="T10" fmla="*/ 33834435 w 109"/>
                <a:gd name="T11" fmla="*/ 21615011 h 117"/>
                <a:gd name="T12" fmla="*/ 38386566 w 109"/>
                <a:gd name="T13" fmla="*/ 17022150 h 117"/>
                <a:gd name="T14" fmla="*/ 38386566 w 109"/>
                <a:gd name="T15" fmla="*/ 13852952 h 117"/>
                <a:gd name="T16" fmla="*/ 36608481 w 109"/>
                <a:gd name="T17" fmla="*/ 12064215 h 117"/>
                <a:gd name="T18" fmla="*/ 33471182 w 109"/>
                <a:gd name="T19" fmla="*/ 10263081 h 117"/>
                <a:gd name="T20" fmla="*/ 28904146 w 109"/>
                <a:gd name="T21" fmla="*/ 8547662 h 117"/>
                <a:gd name="T22" fmla="*/ 27126100 w 109"/>
                <a:gd name="T23" fmla="*/ 8547662 h 117"/>
                <a:gd name="T24" fmla="*/ 28904146 w 109"/>
                <a:gd name="T25" fmla="*/ 6396895 h 117"/>
                <a:gd name="T26" fmla="*/ 27126100 w 109"/>
                <a:gd name="T27" fmla="*/ 6396895 h 117"/>
                <a:gd name="T28" fmla="*/ 27126100 w 109"/>
                <a:gd name="T29" fmla="*/ 4593465 h 117"/>
                <a:gd name="T30" fmla="*/ 23625627 w 109"/>
                <a:gd name="T31" fmla="*/ 2877433 h 117"/>
                <a:gd name="T32" fmla="*/ 23625627 w 109"/>
                <a:gd name="T33" fmla="*/ 1438958 h 117"/>
                <a:gd name="T34" fmla="*/ 22192908 w 109"/>
                <a:gd name="T35" fmla="*/ 1438958 h 117"/>
                <a:gd name="T36" fmla="*/ 20414730 w 109"/>
                <a:gd name="T37" fmla="*/ 1438958 h 117"/>
                <a:gd name="T38" fmla="*/ 18695342 w 109"/>
                <a:gd name="T39" fmla="*/ 1438958 h 117"/>
                <a:gd name="T40" fmla="*/ 17263226 w 109"/>
                <a:gd name="T41" fmla="*/ 2877433 h 117"/>
                <a:gd name="T42" fmla="*/ 9136938 w 109"/>
                <a:gd name="T43" fmla="*/ 0 h 117"/>
                <a:gd name="T44" fmla="*/ 9136938 w 109"/>
                <a:gd name="T45" fmla="*/ 1438958 h 117"/>
                <a:gd name="T46" fmla="*/ 5999150 w 109"/>
                <a:gd name="T47" fmla="*/ 1438958 h 117"/>
                <a:gd name="T48" fmla="*/ 4206770 w 109"/>
                <a:gd name="T49" fmla="*/ 2877433 h 117"/>
                <a:gd name="T50" fmla="*/ 3137305 w 109"/>
                <a:gd name="T51" fmla="*/ 4593465 h 117"/>
                <a:gd name="T52" fmla="*/ 1778179 w 109"/>
                <a:gd name="T53" fmla="*/ 6396895 h 117"/>
                <a:gd name="T54" fmla="*/ 0 w 109"/>
                <a:gd name="T55" fmla="*/ 13852952 h 117"/>
                <a:gd name="T56" fmla="*/ 0 w 109"/>
                <a:gd name="T57" fmla="*/ 17022150 h 117"/>
                <a:gd name="T58" fmla="*/ 0 w 109"/>
                <a:gd name="T59" fmla="*/ 20249820 h 117"/>
                <a:gd name="T60" fmla="*/ 1778179 w 109"/>
                <a:gd name="T61" fmla="*/ 21980089 h 117"/>
                <a:gd name="T62" fmla="*/ 0 w 109"/>
                <a:gd name="T63" fmla="*/ 29086365 h 117"/>
                <a:gd name="T64" fmla="*/ 1778179 w 109"/>
                <a:gd name="T65" fmla="*/ 29086365 h 117"/>
                <a:gd name="T66" fmla="*/ 4206770 w 109"/>
                <a:gd name="T67" fmla="*/ 30875102 h 117"/>
                <a:gd name="T68" fmla="*/ 7416962 w 109"/>
                <a:gd name="T69" fmla="*/ 30875102 h 117"/>
                <a:gd name="T70" fmla="*/ 9136938 w 109"/>
                <a:gd name="T71" fmla="*/ 29086365 h 117"/>
                <a:gd name="T72" fmla="*/ 10918134 w 109"/>
                <a:gd name="T73" fmla="*/ 30875102 h 117"/>
                <a:gd name="T74" fmla="*/ 12347250 w 109"/>
                <a:gd name="T75" fmla="*/ 30875102 h 117"/>
                <a:gd name="T76" fmla="*/ 12347250 w 109"/>
                <a:gd name="T77" fmla="*/ 34391534 h 117"/>
                <a:gd name="T78" fmla="*/ 14055315 w 109"/>
                <a:gd name="T79" fmla="*/ 35833036 h 117"/>
                <a:gd name="T80" fmla="*/ 14055315 w 109"/>
                <a:gd name="T81" fmla="*/ 40076109 h 117"/>
                <a:gd name="T82" fmla="*/ 15485042 w 109"/>
                <a:gd name="T83" fmla="*/ 41500251 h 117"/>
                <a:gd name="T84" fmla="*/ 18695342 w 109"/>
                <a:gd name="T85" fmla="*/ 40076109 h 117"/>
                <a:gd name="T86" fmla="*/ 22556656 w 109"/>
                <a:gd name="T87" fmla="*/ 40076109 h 117"/>
                <a:gd name="T88" fmla="*/ 22556656 w 109"/>
                <a:gd name="T89" fmla="*/ 35833036 h 117"/>
                <a:gd name="T90" fmla="*/ 24695091 w 109"/>
                <a:gd name="T91" fmla="*/ 33679221 h 11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9"/>
                <a:gd name="T139" fmla="*/ 0 h 117"/>
                <a:gd name="T140" fmla="*/ 109 w 109"/>
                <a:gd name="T141" fmla="*/ 117 h 11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9" h="117">
                  <a:moveTo>
                    <a:pt x="70" y="95"/>
                  </a:moveTo>
                  <a:lnTo>
                    <a:pt x="78" y="87"/>
                  </a:lnTo>
                  <a:lnTo>
                    <a:pt x="86" y="82"/>
                  </a:lnTo>
                  <a:lnTo>
                    <a:pt x="91" y="73"/>
                  </a:lnTo>
                  <a:lnTo>
                    <a:pt x="96" y="68"/>
                  </a:lnTo>
                  <a:lnTo>
                    <a:pt x="96" y="61"/>
                  </a:lnTo>
                  <a:lnTo>
                    <a:pt x="109" y="48"/>
                  </a:lnTo>
                  <a:lnTo>
                    <a:pt x="109" y="39"/>
                  </a:lnTo>
                  <a:lnTo>
                    <a:pt x="104" y="34"/>
                  </a:lnTo>
                  <a:lnTo>
                    <a:pt x="95" y="29"/>
                  </a:lnTo>
                  <a:lnTo>
                    <a:pt x="82" y="24"/>
                  </a:lnTo>
                  <a:lnTo>
                    <a:pt x="77" y="24"/>
                  </a:lnTo>
                  <a:lnTo>
                    <a:pt x="82" y="18"/>
                  </a:lnTo>
                  <a:lnTo>
                    <a:pt x="77" y="18"/>
                  </a:lnTo>
                  <a:lnTo>
                    <a:pt x="77" y="13"/>
                  </a:lnTo>
                  <a:lnTo>
                    <a:pt x="67" y="8"/>
                  </a:lnTo>
                  <a:lnTo>
                    <a:pt x="67" y="4"/>
                  </a:lnTo>
                  <a:lnTo>
                    <a:pt x="63" y="4"/>
                  </a:lnTo>
                  <a:lnTo>
                    <a:pt x="58" y="4"/>
                  </a:lnTo>
                  <a:lnTo>
                    <a:pt x="53" y="4"/>
                  </a:lnTo>
                  <a:lnTo>
                    <a:pt x="49" y="8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17" y="4"/>
                  </a:lnTo>
                  <a:lnTo>
                    <a:pt x="12" y="8"/>
                  </a:lnTo>
                  <a:lnTo>
                    <a:pt x="9" y="13"/>
                  </a:lnTo>
                  <a:lnTo>
                    <a:pt x="5" y="18"/>
                  </a:lnTo>
                  <a:lnTo>
                    <a:pt x="0" y="39"/>
                  </a:lnTo>
                  <a:lnTo>
                    <a:pt x="0" y="48"/>
                  </a:lnTo>
                  <a:lnTo>
                    <a:pt x="0" y="57"/>
                  </a:lnTo>
                  <a:lnTo>
                    <a:pt x="5" y="62"/>
                  </a:lnTo>
                  <a:lnTo>
                    <a:pt x="0" y="82"/>
                  </a:lnTo>
                  <a:lnTo>
                    <a:pt x="5" y="82"/>
                  </a:lnTo>
                  <a:lnTo>
                    <a:pt x="12" y="87"/>
                  </a:lnTo>
                  <a:lnTo>
                    <a:pt x="21" y="87"/>
                  </a:lnTo>
                  <a:lnTo>
                    <a:pt x="26" y="82"/>
                  </a:lnTo>
                  <a:lnTo>
                    <a:pt x="31" y="87"/>
                  </a:lnTo>
                  <a:lnTo>
                    <a:pt x="35" y="87"/>
                  </a:lnTo>
                  <a:lnTo>
                    <a:pt x="35" y="97"/>
                  </a:lnTo>
                  <a:lnTo>
                    <a:pt x="40" y="101"/>
                  </a:lnTo>
                  <a:lnTo>
                    <a:pt x="40" y="113"/>
                  </a:lnTo>
                  <a:lnTo>
                    <a:pt x="44" y="117"/>
                  </a:lnTo>
                  <a:lnTo>
                    <a:pt x="53" y="113"/>
                  </a:lnTo>
                  <a:lnTo>
                    <a:pt x="64" y="113"/>
                  </a:lnTo>
                  <a:lnTo>
                    <a:pt x="64" y="101"/>
                  </a:lnTo>
                  <a:lnTo>
                    <a:pt x="70" y="95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Freeform 123">
              <a:extLst>
                <a:ext uri="{FF2B5EF4-FFF2-40B4-BE49-F238E27FC236}">
                  <a16:creationId xmlns:a16="http://schemas.microsoft.com/office/drawing/2014/main" id="{B47BCBEA-6D8A-003F-1D2A-188B104EC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8519" y="1786270"/>
              <a:ext cx="724145" cy="680621"/>
            </a:xfrm>
            <a:custGeom>
              <a:avLst/>
              <a:gdLst>
                <a:gd name="T0" fmla="*/ 0 w 182"/>
                <a:gd name="T1" fmla="*/ 9158667 h 176"/>
                <a:gd name="T2" fmla="*/ 17854328 w 182"/>
                <a:gd name="T3" fmla="*/ 7433253 h 176"/>
                <a:gd name="T4" fmla="*/ 17854328 w 182"/>
                <a:gd name="T5" fmla="*/ 1434699 h 176"/>
                <a:gd name="T6" fmla="*/ 19667491 w 182"/>
                <a:gd name="T7" fmla="*/ 0 h 176"/>
                <a:gd name="T8" fmla="*/ 22854662 w 182"/>
                <a:gd name="T9" fmla="*/ 3142882 h 176"/>
                <a:gd name="T10" fmla="*/ 22854662 w 182"/>
                <a:gd name="T11" fmla="*/ 7433253 h 176"/>
                <a:gd name="T12" fmla="*/ 24652802 w 182"/>
                <a:gd name="T13" fmla="*/ 8794887 h 176"/>
                <a:gd name="T14" fmla="*/ 25385856 w 182"/>
                <a:gd name="T15" fmla="*/ 10590336 h 176"/>
                <a:gd name="T16" fmla="*/ 27183996 w 182"/>
                <a:gd name="T17" fmla="*/ 12374610 h 176"/>
                <a:gd name="T18" fmla="*/ 65084438 w 182"/>
                <a:gd name="T19" fmla="*/ 13806899 h 176"/>
                <a:gd name="T20" fmla="*/ 61825410 w 182"/>
                <a:gd name="T21" fmla="*/ 21530248 h 176"/>
                <a:gd name="T22" fmla="*/ 61825410 w 182"/>
                <a:gd name="T23" fmla="*/ 29324266 h 176"/>
                <a:gd name="T24" fmla="*/ 63271304 w 182"/>
                <a:gd name="T25" fmla="*/ 31123333 h 176"/>
                <a:gd name="T26" fmla="*/ 61825410 w 182"/>
                <a:gd name="T27" fmla="*/ 35340134 h 176"/>
                <a:gd name="T28" fmla="*/ 60450567 w 182"/>
                <a:gd name="T29" fmla="*/ 40278956 h 176"/>
                <a:gd name="T30" fmla="*/ 58637591 w 182"/>
                <a:gd name="T31" fmla="*/ 43424725 h 176"/>
                <a:gd name="T32" fmla="*/ 56837117 w 182"/>
                <a:gd name="T33" fmla="*/ 43424725 h 176"/>
                <a:gd name="T34" fmla="*/ 55098120 w 182"/>
                <a:gd name="T35" fmla="*/ 48363645 h 176"/>
                <a:gd name="T36" fmla="*/ 53649219 w 182"/>
                <a:gd name="T37" fmla="*/ 48363645 h 176"/>
                <a:gd name="T38" fmla="*/ 52203325 w 182"/>
                <a:gd name="T39" fmla="*/ 52289786 h 176"/>
                <a:gd name="T40" fmla="*/ 48664012 w 182"/>
                <a:gd name="T41" fmla="*/ 54015777 h 176"/>
                <a:gd name="T42" fmla="*/ 48664012 w 182"/>
                <a:gd name="T43" fmla="*/ 57231629 h 176"/>
                <a:gd name="T44" fmla="*/ 48664012 w 182"/>
                <a:gd name="T45" fmla="*/ 60377526 h 176"/>
                <a:gd name="T46" fmla="*/ 45053332 w 182"/>
                <a:gd name="T47" fmla="*/ 58667058 h 176"/>
                <a:gd name="T48" fmla="*/ 45053332 w 182"/>
                <a:gd name="T49" fmla="*/ 57231629 h 176"/>
                <a:gd name="T50" fmla="*/ 40065089 w 182"/>
                <a:gd name="T51" fmla="*/ 57231629 h 176"/>
                <a:gd name="T52" fmla="*/ 38618601 w 182"/>
                <a:gd name="T53" fmla="*/ 59012881 h 176"/>
                <a:gd name="T54" fmla="*/ 30371815 w 182"/>
                <a:gd name="T55" fmla="*/ 55796910 h 176"/>
                <a:gd name="T56" fmla="*/ 30371815 w 182"/>
                <a:gd name="T57" fmla="*/ 57231629 h 176"/>
                <a:gd name="T58" fmla="*/ 27183996 w 182"/>
                <a:gd name="T59" fmla="*/ 57595384 h 176"/>
                <a:gd name="T60" fmla="*/ 25385856 w 182"/>
                <a:gd name="T61" fmla="*/ 59012881 h 176"/>
                <a:gd name="T62" fmla="*/ 24652802 w 182"/>
                <a:gd name="T63" fmla="*/ 60377526 h 176"/>
                <a:gd name="T64" fmla="*/ 22854662 w 182"/>
                <a:gd name="T65" fmla="*/ 62173551 h 176"/>
                <a:gd name="T66" fmla="*/ 21479877 w 182"/>
                <a:gd name="T67" fmla="*/ 59012881 h 176"/>
                <a:gd name="T68" fmla="*/ 17854328 w 182"/>
                <a:gd name="T69" fmla="*/ 55796910 h 176"/>
                <a:gd name="T70" fmla="*/ 19667491 w 182"/>
                <a:gd name="T71" fmla="*/ 54015777 h 176"/>
                <a:gd name="T72" fmla="*/ 19667491 w 182"/>
                <a:gd name="T73" fmla="*/ 52289786 h 176"/>
                <a:gd name="T74" fmla="*/ 8247283 w 182"/>
                <a:gd name="T75" fmla="*/ 52289786 h 176"/>
                <a:gd name="T76" fmla="*/ 8247283 w 182"/>
                <a:gd name="T77" fmla="*/ 46641248 h 176"/>
                <a:gd name="T78" fmla="*/ 6434249 w 182"/>
                <a:gd name="T79" fmla="*/ 44857152 h 176"/>
                <a:gd name="T80" fmla="*/ 6434249 w 182"/>
                <a:gd name="T81" fmla="*/ 43424725 h 176"/>
                <a:gd name="T82" fmla="*/ 8247283 w 182"/>
                <a:gd name="T83" fmla="*/ 41714257 h 176"/>
                <a:gd name="T84" fmla="*/ 6434249 w 182"/>
                <a:gd name="T85" fmla="*/ 40278956 h 176"/>
                <a:gd name="T86" fmla="*/ 6434249 w 182"/>
                <a:gd name="T87" fmla="*/ 38482911 h 176"/>
                <a:gd name="T88" fmla="*/ 4621722 w 182"/>
                <a:gd name="T89" fmla="*/ 37063025 h 176"/>
                <a:gd name="T90" fmla="*/ 6798363 w 182"/>
                <a:gd name="T91" fmla="*/ 35340134 h 176"/>
                <a:gd name="T92" fmla="*/ 8247283 w 182"/>
                <a:gd name="T93" fmla="*/ 31123333 h 176"/>
                <a:gd name="T94" fmla="*/ 9974318 w 182"/>
                <a:gd name="T95" fmla="*/ 29324266 h 176"/>
                <a:gd name="T96" fmla="*/ 9974318 w 182"/>
                <a:gd name="T97" fmla="*/ 27907382 h 176"/>
                <a:gd name="T98" fmla="*/ 8247283 w 182"/>
                <a:gd name="T99" fmla="*/ 24400257 h 176"/>
                <a:gd name="T100" fmla="*/ 8247283 w 182"/>
                <a:gd name="T101" fmla="*/ 21530248 h 176"/>
                <a:gd name="T102" fmla="*/ 3261323 w 182"/>
                <a:gd name="T103" fmla="*/ 21530248 h 176"/>
                <a:gd name="T104" fmla="*/ 0 w 182"/>
                <a:gd name="T105" fmla="*/ 17313412 h 176"/>
                <a:gd name="T106" fmla="*/ 0 w 182"/>
                <a:gd name="T107" fmla="*/ 9158667 h 17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2"/>
                <a:gd name="T163" fmla="*/ 0 h 176"/>
                <a:gd name="T164" fmla="*/ 182 w 182"/>
                <a:gd name="T165" fmla="*/ 176 h 17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2" h="176">
                  <a:moveTo>
                    <a:pt x="0" y="26"/>
                  </a:moveTo>
                  <a:lnTo>
                    <a:pt x="50" y="21"/>
                  </a:lnTo>
                  <a:cubicBezTo>
                    <a:pt x="50" y="16"/>
                    <a:pt x="50" y="9"/>
                    <a:pt x="50" y="4"/>
                  </a:cubicBezTo>
                  <a:lnTo>
                    <a:pt x="55" y="0"/>
                  </a:lnTo>
                  <a:lnTo>
                    <a:pt x="64" y="9"/>
                  </a:lnTo>
                  <a:lnTo>
                    <a:pt x="64" y="21"/>
                  </a:lnTo>
                  <a:lnTo>
                    <a:pt x="69" y="25"/>
                  </a:lnTo>
                  <a:lnTo>
                    <a:pt x="71" y="30"/>
                  </a:lnTo>
                  <a:lnTo>
                    <a:pt x="76" y="35"/>
                  </a:lnTo>
                  <a:lnTo>
                    <a:pt x="182" y="39"/>
                  </a:lnTo>
                  <a:lnTo>
                    <a:pt x="173" y="61"/>
                  </a:lnTo>
                  <a:lnTo>
                    <a:pt x="173" y="83"/>
                  </a:lnTo>
                  <a:lnTo>
                    <a:pt x="177" y="88"/>
                  </a:lnTo>
                  <a:lnTo>
                    <a:pt x="173" y="100"/>
                  </a:lnTo>
                  <a:lnTo>
                    <a:pt x="169" y="114"/>
                  </a:lnTo>
                  <a:lnTo>
                    <a:pt x="164" y="123"/>
                  </a:lnTo>
                  <a:lnTo>
                    <a:pt x="159" y="123"/>
                  </a:lnTo>
                  <a:lnTo>
                    <a:pt x="154" y="137"/>
                  </a:lnTo>
                  <a:lnTo>
                    <a:pt x="150" y="137"/>
                  </a:lnTo>
                  <a:lnTo>
                    <a:pt x="146" y="148"/>
                  </a:lnTo>
                  <a:lnTo>
                    <a:pt x="136" y="153"/>
                  </a:lnTo>
                  <a:lnTo>
                    <a:pt x="136" y="162"/>
                  </a:lnTo>
                  <a:lnTo>
                    <a:pt x="136" y="171"/>
                  </a:lnTo>
                  <a:lnTo>
                    <a:pt x="126" y="166"/>
                  </a:lnTo>
                  <a:lnTo>
                    <a:pt x="126" y="162"/>
                  </a:lnTo>
                  <a:cubicBezTo>
                    <a:pt x="122" y="162"/>
                    <a:pt x="117" y="162"/>
                    <a:pt x="112" y="162"/>
                  </a:cubicBezTo>
                  <a:lnTo>
                    <a:pt x="108" y="167"/>
                  </a:lnTo>
                  <a:lnTo>
                    <a:pt x="85" y="158"/>
                  </a:lnTo>
                  <a:lnTo>
                    <a:pt x="85" y="162"/>
                  </a:lnTo>
                  <a:lnTo>
                    <a:pt x="76" y="163"/>
                  </a:lnTo>
                  <a:lnTo>
                    <a:pt x="71" y="167"/>
                  </a:lnTo>
                  <a:lnTo>
                    <a:pt x="69" y="171"/>
                  </a:lnTo>
                  <a:lnTo>
                    <a:pt x="64" y="176"/>
                  </a:lnTo>
                  <a:lnTo>
                    <a:pt x="60" y="167"/>
                  </a:lnTo>
                  <a:lnTo>
                    <a:pt x="50" y="158"/>
                  </a:lnTo>
                  <a:lnTo>
                    <a:pt x="55" y="153"/>
                  </a:lnTo>
                  <a:lnTo>
                    <a:pt x="55" y="148"/>
                  </a:lnTo>
                  <a:lnTo>
                    <a:pt x="23" y="14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8" y="123"/>
                  </a:lnTo>
                  <a:lnTo>
                    <a:pt x="23" y="118"/>
                  </a:lnTo>
                  <a:lnTo>
                    <a:pt x="18" y="114"/>
                  </a:lnTo>
                  <a:lnTo>
                    <a:pt x="18" y="109"/>
                  </a:lnTo>
                  <a:lnTo>
                    <a:pt x="13" y="105"/>
                  </a:lnTo>
                  <a:lnTo>
                    <a:pt x="19" y="100"/>
                  </a:lnTo>
                  <a:lnTo>
                    <a:pt x="23" y="88"/>
                  </a:lnTo>
                  <a:lnTo>
                    <a:pt x="28" y="83"/>
                  </a:lnTo>
                  <a:lnTo>
                    <a:pt x="28" y="79"/>
                  </a:lnTo>
                  <a:lnTo>
                    <a:pt x="23" y="69"/>
                  </a:lnTo>
                  <a:lnTo>
                    <a:pt x="23" y="61"/>
                  </a:lnTo>
                  <a:lnTo>
                    <a:pt x="9" y="61"/>
                  </a:lnTo>
                  <a:lnTo>
                    <a:pt x="0" y="49"/>
                  </a:lnTo>
                  <a:lnTo>
                    <a:pt x="0" y="26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Freeform 124">
              <a:extLst>
                <a:ext uri="{FF2B5EF4-FFF2-40B4-BE49-F238E27FC236}">
                  <a16:creationId xmlns:a16="http://schemas.microsoft.com/office/drawing/2014/main" id="{06FF647A-9AB7-8F9C-D8D5-A32A612B5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237" y="2564011"/>
              <a:ext cx="539890" cy="339919"/>
            </a:xfrm>
            <a:custGeom>
              <a:avLst/>
              <a:gdLst>
                <a:gd name="T0" fmla="*/ 33019313 w 136"/>
                <a:gd name="T1" fmla="*/ 25900233 h 88"/>
                <a:gd name="T2" fmla="*/ 27405986 w 136"/>
                <a:gd name="T3" fmla="*/ 30792773 h 88"/>
                <a:gd name="T4" fmla="*/ 25616450 w 136"/>
                <a:gd name="T5" fmla="*/ 29022093 h 88"/>
                <a:gd name="T6" fmla="*/ 24189628 w 136"/>
                <a:gd name="T7" fmla="*/ 30792773 h 88"/>
                <a:gd name="T8" fmla="*/ 24189628 w 136"/>
                <a:gd name="T9" fmla="*/ 29022093 h 88"/>
                <a:gd name="T10" fmla="*/ 21058467 w 136"/>
                <a:gd name="T11" fmla="*/ 27326653 h 88"/>
                <a:gd name="T12" fmla="*/ 19286717 w 136"/>
                <a:gd name="T13" fmla="*/ 27326653 h 88"/>
                <a:gd name="T14" fmla="*/ 21058467 w 136"/>
                <a:gd name="T15" fmla="*/ 25900233 h 88"/>
                <a:gd name="T16" fmla="*/ 19646432 w 136"/>
                <a:gd name="T17" fmla="*/ 24476260 h 88"/>
                <a:gd name="T18" fmla="*/ 17582467 w 136"/>
                <a:gd name="T19" fmla="*/ 20304303 h 88"/>
                <a:gd name="T20" fmla="*/ 16155655 w 136"/>
                <a:gd name="T21" fmla="*/ 18518275 h 88"/>
                <a:gd name="T22" fmla="*/ 13024464 w 136"/>
                <a:gd name="T23" fmla="*/ 18518275 h 88"/>
                <a:gd name="T24" fmla="*/ 9463797 w 136"/>
                <a:gd name="T25" fmla="*/ 17167589 h 88"/>
                <a:gd name="T26" fmla="*/ 4558008 w 136"/>
                <a:gd name="T27" fmla="*/ 17167589 h 88"/>
                <a:gd name="T28" fmla="*/ 1774745 w 136"/>
                <a:gd name="T29" fmla="*/ 15396446 h 88"/>
                <a:gd name="T30" fmla="*/ 0 w 136"/>
                <a:gd name="T31" fmla="*/ 15396446 h 88"/>
                <a:gd name="T32" fmla="*/ 2768487 w 136"/>
                <a:gd name="T33" fmla="*/ 13625766 h 88"/>
                <a:gd name="T34" fmla="*/ 4558008 w 136"/>
                <a:gd name="T35" fmla="*/ 10503817 h 88"/>
                <a:gd name="T36" fmla="*/ 6332755 w 136"/>
                <a:gd name="T37" fmla="*/ 8735547 h 88"/>
                <a:gd name="T38" fmla="*/ 6332755 w 136"/>
                <a:gd name="T39" fmla="*/ 6316515 h 88"/>
                <a:gd name="T40" fmla="*/ 10890123 w 136"/>
                <a:gd name="T41" fmla="*/ 1771263 h 88"/>
                <a:gd name="T42" fmla="*/ 14380910 w 136"/>
                <a:gd name="T43" fmla="*/ 0 h 88"/>
                <a:gd name="T44" fmla="*/ 16155655 w 136"/>
                <a:gd name="T45" fmla="*/ 1771263 h 88"/>
                <a:gd name="T46" fmla="*/ 19286717 w 136"/>
                <a:gd name="T47" fmla="*/ 1771263 h 88"/>
                <a:gd name="T48" fmla="*/ 21058467 w 136"/>
                <a:gd name="T49" fmla="*/ 1771263 h 88"/>
                <a:gd name="T50" fmla="*/ 22847984 w 136"/>
                <a:gd name="T51" fmla="*/ 3121861 h 88"/>
                <a:gd name="T52" fmla="*/ 24189628 w 136"/>
                <a:gd name="T53" fmla="*/ 1771263 h 88"/>
                <a:gd name="T54" fmla="*/ 27405986 w 136"/>
                <a:gd name="T55" fmla="*/ 1771263 h 88"/>
                <a:gd name="T56" fmla="*/ 29180109 w 136"/>
                <a:gd name="T57" fmla="*/ 1771263 h 88"/>
                <a:gd name="T58" fmla="*/ 30881982 w 136"/>
                <a:gd name="T59" fmla="*/ 1771263 h 88"/>
                <a:gd name="T60" fmla="*/ 32311783 w 136"/>
                <a:gd name="T61" fmla="*/ 3121861 h 88"/>
                <a:gd name="T62" fmla="*/ 32311783 w 136"/>
                <a:gd name="T63" fmla="*/ 9438350 h 88"/>
                <a:gd name="T64" fmla="*/ 33019313 w 136"/>
                <a:gd name="T65" fmla="*/ 10865349 h 88"/>
                <a:gd name="T66" fmla="*/ 34445641 w 136"/>
                <a:gd name="T67" fmla="*/ 10865349 h 88"/>
                <a:gd name="T68" fmla="*/ 33019313 w 136"/>
                <a:gd name="T69" fmla="*/ 13987209 h 88"/>
                <a:gd name="T70" fmla="*/ 36147494 w 136"/>
                <a:gd name="T71" fmla="*/ 17167589 h 88"/>
                <a:gd name="T72" fmla="*/ 36147494 w 136"/>
                <a:gd name="T73" fmla="*/ 18880330 h 88"/>
                <a:gd name="T74" fmla="*/ 37936419 w 136"/>
                <a:gd name="T75" fmla="*/ 18880330 h 88"/>
                <a:gd name="T76" fmla="*/ 39711154 w 136"/>
                <a:gd name="T77" fmla="*/ 17167589 h 88"/>
                <a:gd name="T78" fmla="*/ 42839325 w 136"/>
                <a:gd name="T79" fmla="*/ 17167589 h 88"/>
                <a:gd name="T80" fmla="*/ 44628841 w 136"/>
                <a:gd name="T81" fmla="*/ 15396446 h 88"/>
                <a:gd name="T82" fmla="*/ 44628841 w 136"/>
                <a:gd name="T83" fmla="*/ 17167589 h 88"/>
                <a:gd name="T84" fmla="*/ 47759923 w 136"/>
                <a:gd name="T85" fmla="*/ 17167589 h 88"/>
                <a:gd name="T86" fmla="*/ 45970406 w 136"/>
                <a:gd name="T87" fmla="*/ 18518275 h 88"/>
                <a:gd name="T88" fmla="*/ 44628841 w 136"/>
                <a:gd name="T89" fmla="*/ 18518275 h 88"/>
                <a:gd name="T90" fmla="*/ 39711154 w 136"/>
                <a:gd name="T91" fmla="*/ 24476260 h 88"/>
                <a:gd name="T92" fmla="*/ 38281352 w 136"/>
                <a:gd name="T93" fmla="*/ 24476260 h 88"/>
                <a:gd name="T94" fmla="*/ 33019313 w 136"/>
                <a:gd name="T95" fmla="*/ 25900233 h 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6"/>
                <a:gd name="T145" fmla="*/ 0 h 88"/>
                <a:gd name="T146" fmla="*/ 136 w 136"/>
                <a:gd name="T147" fmla="*/ 88 h 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6" h="88">
                  <a:moveTo>
                    <a:pt x="94" y="74"/>
                  </a:moveTo>
                  <a:lnTo>
                    <a:pt x="78" y="88"/>
                  </a:lnTo>
                  <a:lnTo>
                    <a:pt x="73" y="83"/>
                  </a:lnTo>
                  <a:lnTo>
                    <a:pt x="69" y="88"/>
                  </a:lnTo>
                  <a:lnTo>
                    <a:pt x="69" y="83"/>
                  </a:lnTo>
                  <a:lnTo>
                    <a:pt x="60" y="78"/>
                  </a:lnTo>
                  <a:lnTo>
                    <a:pt x="55" y="78"/>
                  </a:lnTo>
                  <a:lnTo>
                    <a:pt x="60" y="74"/>
                  </a:lnTo>
                  <a:lnTo>
                    <a:pt x="56" y="70"/>
                  </a:lnTo>
                  <a:lnTo>
                    <a:pt x="50" y="58"/>
                  </a:lnTo>
                  <a:lnTo>
                    <a:pt x="46" y="53"/>
                  </a:lnTo>
                  <a:lnTo>
                    <a:pt x="37" y="53"/>
                  </a:lnTo>
                  <a:lnTo>
                    <a:pt x="27" y="49"/>
                  </a:lnTo>
                  <a:lnTo>
                    <a:pt x="13" y="49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8" y="39"/>
                  </a:lnTo>
                  <a:lnTo>
                    <a:pt x="13" y="30"/>
                  </a:lnTo>
                  <a:lnTo>
                    <a:pt x="18" y="25"/>
                  </a:lnTo>
                  <a:lnTo>
                    <a:pt x="18" y="18"/>
                  </a:lnTo>
                  <a:lnTo>
                    <a:pt x="31" y="5"/>
                  </a:lnTo>
                  <a:lnTo>
                    <a:pt x="41" y="0"/>
                  </a:lnTo>
                  <a:lnTo>
                    <a:pt x="46" y="5"/>
                  </a:lnTo>
                  <a:lnTo>
                    <a:pt x="55" y="5"/>
                  </a:lnTo>
                  <a:lnTo>
                    <a:pt x="60" y="5"/>
                  </a:lnTo>
                  <a:lnTo>
                    <a:pt x="65" y="9"/>
                  </a:lnTo>
                  <a:lnTo>
                    <a:pt x="69" y="5"/>
                  </a:lnTo>
                  <a:lnTo>
                    <a:pt x="78" y="5"/>
                  </a:lnTo>
                  <a:lnTo>
                    <a:pt x="83" y="5"/>
                  </a:lnTo>
                  <a:lnTo>
                    <a:pt x="88" y="5"/>
                  </a:lnTo>
                  <a:lnTo>
                    <a:pt x="92" y="9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8" y="31"/>
                  </a:lnTo>
                  <a:lnTo>
                    <a:pt x="94" y="40"/>
                  </a:lnTo>
                  <a:lnTo>
                    <a:pt x="103" y="49"/>
                  </a:lnTo>
                  <a:lnTo>
                    <a:pt x="103" y="54"/>
                  </a:lnTo>
                  <a:lnTo>
                    <a:pt x="108" y="54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7" y="44"/>
                  </a:lnTo>
                  <a:lnTo>
                    <a:pt x="127" y="49"/>
                  </a:lnTo>
                  <a:lnTo>
                    <a:pt x="136" y="49"/>
                  </a:lnTo>
                  <a:lnTo>
                    <a:pt x="131" y="53"/>
                  </a:lnTo>
                  <a:lnTo>
                    <a:pt x="127" y="53"/>
                  </a:lnTo>
                  <a:lnTo>
                    <a:pt x="113" y="70"/>
                  </a:lnTo>
                  <a:lnTo>
                    <a:pt x="109" y="70"/>
                  </a:lnTo>
                  <a:lnTo>
                    <a:pt x="94" y="74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Freeform 125">
              <a:extLst>
                <a:ext uri="{FF2B5EF4-FFF2-40B4-BE49-F238E27FC236}">
                  <a16:creationId xmlns:a16="http://schemas.microsoft.com/office/drawing/2014/main" id="{83B6D1B0-8C4F-38F4-ADE3-C30F13C45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3586" y="2644683"/>
              <a:ext cx="259888" cy="151162"/>
            </a:xfrm>
            <a:custGeom>
              <a:avLst/>
              <a:gdLst>
                <a:gd name="T0" fmla="*/ 7032912 w 65"/>
                <a:gd name="T1" fmla="*/ 6829349 h 39"/>
                <a:gd name="T2" fmla="*/ 2242097 w 65"/>
                <a:gd name="T3" fmla="*/ 8283802 h 39"/>
                <a:gd name="T4" fmla="*/ 2242097 w 65"/>
                <a:gd name="T5" fmla="*/ 10105815 h 39"/>
                <a:gd name="T6" fmla="*/ 5617740 w 65"/>
                <a:gd name="T7" fmla="*/ 10105815 h 39"/>
                <a:gd name="T8" fmla="*/ 4111650 w 65"/>
                <a:gd name="T9" fmla="*/ 11486450 h 39"/>
                <a:gd name="T10" fmla="*/ 2242097 w 65"/>
                <a:gd name="T11" fmla="*/ 11486450 h 39"/>
                <a:gd name="T12" fmla="*/ 0 w 65"/>
                <a:gd name="T13" fmla="*/ 14027002 h 39"/>
                <a:gd name="T14" fmla="*/ 1866488 w 65"/>
                <a:gd name="T15" fmla="*/ 14027002 h 39"/>
                <a:gd name="T16" fmla="*/ 3372582 w 65"/>
                <a:gd name="T17" fmla="*/ 12572574 h 39"/>
                <a:gd name="T18" fmla="*/ 5239070 w 65"/>
                <a:gd name="T19" fmla="*/ 14027002 h 39"/>
                <a:gd name="T20" fmla="*/ 6653645 w 65"/>
                <a:gd name="T21" fmla="*/ 12204271 h 39"/>
                <a:gd name="T22" fmla="*/ 8523193 w 65"/>
                <a:gd name="T23" fmla="*/ 14027002 h 39"/>
                <a:gd name="T24" fmla="*/ 8523193 w 65"/>
                <a:gd name="T25" fmla="*/ 12204271 h 39"/>
                <a:gd name="T26" fmla="*/ 10404896 w 65"/>
                <a:gd name="T27" fmla="*/ 12204271 h 39"/>
                <a:gd name="T28" fmla="*/ 10404896 w 65"/>
                <a:gd name="T29" fmla="*/ 14027002 h 39"/>
                <a:gd name="T30" fmla="*/ 11895771 w 65"/>
                <a:gd name="T31" fmla="*/ 14027002 h 39"/>
                <a:gd name="T32" fmla="*/ 17134720 w 65"/>
                <a:gd name="T33" fmla="*/ 12204271 h 39"/>
                <a:gd name="T34" fmla="*/ 17134720 w 65"/>
                <a:gd name="T35" fmla="*/ 10749942 h 39"/>
                <a:gd name="T36" fmla="*/ 22298210 w 65"/>
                <a:gd name="T37" fmla="*/ 9019671 h 39"/>
                <a:gd name="T38" fmla="*/ 22298210 w 65"/>
                <a:gd name="T39" fmla="*/ 7197653 h 39"/>
                <a:gd name="T40" fmla="*/ 24167654 w 65"/>
                <a:gd name="T41" fmla="*/ 3555921 h 39"/>
                <a:gd name="T42" fmla="*/ 18925620 w 65"/>
                <a:gd name="T43" fmla="*/ 2172269 h 39"/>
                <a:gd name="T44" fmla="*/ 18925620 w 65"/>
                <a:gd name="T45" fmla="*/ 0 h 39"/>
                <a:gd name="T46" fmla="*/ 17134720 w 65"/>
                <a:gd name="T47" fmla="*/ 2172269 h 39"/>
                <a:gd name="T48" fmla="*/ 15643961 w 65"/>
                <a:gd name="T49" fmla="*/ 5009755 h 39"/>
                <a:gd name="T50" fmla="*/ 10781124 w 65"/>
                <a:gd name="T51" fmla="*/ 6829349 h 39"/>
                <a:gd name="T52" fmla="*/ 7032912 w 65"/>
                <a:gd name="T53" fmla="*/ 6829349 h 3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39"/>
                <a:gd name="T83" fmla="*/ 65 w 65"/>
                <a:gd name="T84" fmla="*/ 39 h 3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39">
                  <a:moveTo>
                    <a:pt x="19" y="19"/>
                  </a:moveTo>
                  <a:lnTo>
                    <a:pt x="6" y="23"/>
                  </a:lnTo>
                  <a:lnTo>
                    <a:pt x="6" y="28"/>
                  </a:lnTo>
                  <a:lnTo>
                    <a:pt x="15" y="28"/>
                  </a:lnTo>
                  <a:lnTo>
                    <a:pt x="11" y="32"/>
                  </a:lnTo>
                  <a:lnTo>
                    <a:pt x="6" y="32"/>
                  </a:lnTo>
                  <a:lnTo>
                    <a:pt x="0" y="39"/>
                  </a:lnTo>
                  <a:lnTo>
                    <a:pt x="5" y="39"/>
                  </a:lnTo>
                  <a:lnTo>
                    <a:pt x="9" y="35"/>
                  </a:lnTo>
                  <a:lnTo>
                    <a:pt x="14" y="39"/>
                  </a:lnTo>
                  <a:lnTo>
                    <a:pt x="18" y="34"/>
                  </a:lnTo>
                  <a:lnTo>
                    <a:pt x="23" y="39"/>
                  </a:lnTo>
                  <a:lnTo>
                    <a:pt x="23" y="34"/>
                  </a:lnTo>
                  <a:lnTo>
                    <a:pt x="28" y="34"/>
                  </a:lnTo>
                  <a:lnTo>
                    <a:pt x="28" y="39"/>
                  </a:lnTo>
                  <a:lnTo>
                    <a:pt x="32" y="39"/>
                  </a:lnTo>
                  <a:lnTo>
                    <a:pt x="46" y="34"/>
                  </a:lnTo>
                  <a:lnTo>
                    <a:pt x="46" y="30"/>
                  </a:lnTo>
                  <a:lnTo>
                    <a:pt x="60" y="25"/>
                  </a:lnTo>
                  <a:lnTo>
                    <a:pt x="60" y="20"/>
                  </a:lnTo>
                  <a:lnTo>
                    <a:pt x="65" y="10"/>
                  </a:lnTo>
                  <a:lnTo>
                    <a:pt x="51" y="6"/>
                  </a:lnTo>
                  <a:lnTo>
                    <a:pt x="51" y="0"/>
                  </a:lnTo>
                  <a:lnTo>
                    <a:pt x="46" y="6"/>
                  </a:lnTo>
                  <a:lnTo>
                    <a:pt x="42" y="14"/>
                  </a:lnTo>
                  <a:lnTo>
                    <a:pt x="29" y="19"/>
                  </a:lnTo>
                  <a:lnTo>
                    <a:pt x="19" y="19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Freeform 126">
              <a:extLst>
                <a:ext uri="{FF2B5EF4-FFF2-40B4-BE49-F238E27FC236}">
                  <a16:creationId xmlns:a16="http://schemas.microsoft.com/office/drawing/2014/main" id="{C0111191-2AA5-5CD0-39F0-85AAC3E5F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6347" y="2466892"/>
              <a:ext cx="152070" cy="216170"/>
            </a:xfrm>
            <a:custGeom>
              <a:avLst/>
              <a:gdLst>
                <a:gd name="T0" fmla="*/ 14228954 w 38"/>
                <a:gd name="T1" fmla="*/ 2119981 h 56"/>
                <a:gd name="T2" fmla="*/ 10838176 w 38"/>
                <a:gd name="T3" fmla="*/ 0 h 56"/>
                <a:gd name="T4" fmla="*/ 5268181 w 38"/>
                <a:gd name="T5" fmla="*/ 357607 h 56"/>
                <a:gd name="T6" fmla="*/ 5268181 w 38"/>
                <a:gd name="T7" fmla="*/ 9401787 h 56"/>
                <a:gd name="T8" fmla="*/ 3767750 w 38"/>
                <a:gd name="T9" fmla="*/ 12225717 h 56"/>
                <a:gd name="T10" fmla="*/ 2255023 w 38"/>
                <a:gd name="T11" fmla="*/ 12225717 h 56"/>
                <a:gd name="T12" fmla="*/ 377592 w 38"/>
                <a:gd name="T13" fmla="*/ 13917932 h 56"/>
                <a:gd name="T14" fmla="*/ 0 w 38"/>
                <a:gd name="T15" fmla="*/ 16038035 h 56"/>
                <a:gd name="T16" fmla="*/ 0 w 38"/>
                <a:gd name="T17" fmla="*/ 18431211 h 56"/>
                <a:gd name="T18" fmla="*/ 5268181 w 38"/>
                <a:gd name="T19" fmla="*/ 19492647 h 56"/>
                <a:gd name="T20" fmla="*/ 9340692 w 38"/>
                <a:gd name="T21" fmla="*/ 15680428 h 56"/>
                <a:gd name="T22" fmla="*/ 9340692 w 38"/>
                <a:gd name="T23" fmla="*/ 13917932 h 56"/>
                <a:gd name="T24" fmla="*/ 12731468 w 38"/>
                <a:gd name="T25" fmla="*/ 10806664 h 56"/>
                <a:gd name="T26" fmla="*/ 12731468 w 38"/>
                <a:gd name="T27" fmla="*/ 7625156 h 56"/>
                <a:gd name="T28" fmla="*/ 14228954 w 38"/>
                <a:gd name="T29" fmla="*/ 2119981 h 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56"/>
                <a:gd name="T47" fmla="*/ 38 w 38"/>
                <a:gd name="T48" fmla="*/ 56 h 5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56">
                  <a:moveTo>
                    <a:pt x="38" y="6"/>
                  </a:moveTo>
                  <a:lnTo>
                    <a:pt x="29" y="0"/>
                  </a:lnTo>
                  <a:lnTo>
                    <a:pt x="14" y="1"/>
                  </a:lnTo>
                  <a:lnTo>
                    <a:pt x="14" y="27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1" y="40"/>
                  </a:lnTo>
                  <a:lnTo>
                    <a:pt x="0" y="46"/>
                  </a:lnTo>
                  <a:lnTo>
                    <a:pt x="0" y="53"/>
                  </a:lnTo>
                  <a:lnTo>
                    <a:pt x="14" y="56"/>
                  </a:lnTo>
                  <a:lnTo>
                    <a:pt x="25" y="45"/>
                  </a:lnTo>
                  <a:lnTo>
                    <a:pt x="25" y="40"/>
                  </a:lnTo>
                  <a:lnTo>
                    <a:pt x="34" y="31"/>
                  </a:lnTo>
                  <a:lnTo>
                    <a:pt x="34" y="22"/>
                  </a:lnTo>
                  <a:lnTo>
                    <a:pt x="38" y="6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Freeform 127">
              <a:extLst>
                <a:ext uri="{FF2B5EF4-FFF2-40B4-BE49-F238E27FC236}">
                  <a16:creationId xmlns:a16="http://schemas.microsoft.com/office/drawing/2014/main" id="{48223F7E-18A9-00A3-779C-FDBE9790E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6341" y="2225659"/>
              <a:ext cx="712076" cy="545907"/>
            </a:xfrm>
            <a:custGeom>
              <a:avLst/>
              <a:gdLst>
                <a:gd name="T0" fmla="*/ 0 w 179"/>
                <a:gd name="T1" fmla="*/ 32813589 h 141"/>
                <a:gd name="T2" fmla="*/ 1811165 w 179"/>
                <a:gd name="T3" fmla="*/ 27840313 h 141"/>
                <a:gd name="T4" fmla="*/ 8588316 w 179"/>
                <a:gd name="T5" fmla="*/ 24599176 h 141"/>
                <a:gd name="T6" fmla="*/ 11772528 w 179"/>
                <a:gd name="T7" fmla="*/ 22426870 h 141"/>
                <a:gd name="T8" fmla="*/ 18198486 w 179"/>
                <a:gd name="T9" fmla="*/ 24599176 h 141"/>
                <a:gd name="T10" fmla="*/ 21808716 w 179"/>
                <a:gd name="T11" fmla="*/ 18896695 h 141"/>
                <a:gd name="T12" fmla="*/ 20009522 w 179"/>
                <a:gd name="T13" fmla="*/ 17450554 h 141"/>
                <a:gd name="T14" fmla="*/ 21808716 w 179"/>
                <a:gd name="T15" fmla="*/ 10679286 h 141"/>
                <a:gd name="T16" fmla="*/ 24260413 w 179"/>
                <a:gd name="T17" fmla="*/ 6420126 h 141"/>
                <a:gd name="T18" fmla="*/ 24260413 w 179"/>
                <a:gd name="T19" fmla="*/ 3182037 h 141"/>
                <a:gd name="T20" fmla="*/ 25708134 w 179"/>
                <a:gd name="T21" fmla="*/ 1809229 h 141"/>
                <a:gd name="T22" fmla="*/ 29241389 w 179"/>
                <a:gd name="T23" fmla="*/ 3182037 h 141"/>
                <a:gd name="T24" fmla="*/ 30689248 w 179"/>
                <a:gd name="T25" fmla="*/ 3182037 h 141"/>
                <a:gd name="T26" fmla="*/ 40721803 w 179"/>
                <a:gd name="T27" fmla="*/ 0 h 141"/>
                <a:gd name="T28" fmla="*/ 42461771 w 179"/>
                <a:gd name="T29" fmla="*/ 3182037 h 141"/>
                <a:gd name="T30" fmla="*/ 43906605 w 179"/>
                <a:gd name="T31" fmla="*/ 1809229 h 141"/>
                <a:gd name="T32" fmla="*/ 50698142 w 179"/>
                <a:gd name="T33" fmla="*/ 4976307 h 141"/>
                <a:gd name="T34" fmla="*/ 55679138 w 179"/>
                <a:gd name="T35" fmla="*/ 7863355 h 141"/>
                <a:gd name="T36" fmla="*/ 62104968 w 179"/>
                <a:gd name="T37" fmla="*/ 12110548 h 141"/>
                <a:gd name="T38" fmla="*/ 63918554 w 179"/>
                <a:gd name="T39" fmla="*/ 13919801 h 141"/>
                <a:gd name="T40" fmla="*/ 58923161 w 179"/>
                <a:gd name="T41" fmla="*/ 17101837 h 141"/>
                <a:gd name="T42" fmla="*/ 60734296 w 179"/>
                <a:gd name="T43" fmla="*/ 20339919 h 141"/>
                <a:gd name="T44" fmla="*/ 55679138 w 179"/>
                <a:gd name="T45" fmla="*/ 22426870 h 141"/>
                <a:gd name="T46" fmla="*/ 53942165 w 179"/>
                <a:gd name="T47" fmla="*/ 34552391 h 141"/>
                <a:gd name="T48" fmla="*/ 50698142 w 179"/>
                <a:gd name="T49" fmla="*/ 36346656 h 141"/>
                <a:gd name="T50" fmla="*/ 48520786 w 179"/>
                <a:gd name="T51" fmla="*/ 40679957 h 141"/>
                <a:gd name="T52" fmla="*/ 42461771 w 179"/>
                <a:gd name="T53" fmla="*/ 45290289 h 141"/>
                <a:gd name="T54" fmla="*/ 34295993 w 179"/>
                <a:gd name="T55" fmla="*/ 46733958 h 141"/>
                <a:gd name="T56" fmla="*/ 29241389 w 179"/>
                <a:gd name="T57" fmla="*/ 48472167 h 141"/>
                <a:gd name="T58" fmla="*/ 25708134 w 179"/>
                <a:gd name="T59" fmla="*/ 50267163 h 141"/>
                <a:gd name="T60" fmla="*/ 24260413 w 179"/>
                <a:gd name="T61" fmla="*/ 47100076 h 141"/>
                <a:gd name="T62" fmla="*/ 23911990 w 179"/>
                <a:gd name="T63" fmla="*/ 42049646 h 141"/>
                <a:gd name="T64" fmla="*/ 21442376 w 179"/>
                <a:gd name="T65" fmla="*/ 40679957 h 141"/>
                <a:gd name="T66" fmla="*/ 20360842 w 179"/>
                <a:gd name="T67" fmla="*/ 32813589 h 141"/>
                <a:gd name="T68" fmla="*/ 12138849 w 179"/>
                <a:gd name="T69" fmla="*/ 34259849 h 141"/>
                <a:gd name="T70" fmla="*/ 5347299 w 179"/>
                <a:gd name="T71" fmla="*/ 32813589 h 14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9"/>
                <a:gd name="T109" fmla="*/ 0 h 141"/>
                <a:gd name="T110" fmla="*/ 179 w 179"/>
                <a:gd name="T111" fmla="*/ 141 h 14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9" h="141">
                  <a:moveTo>
                    <a:pt x="10" y="87"/>
                  </a:moveTo>
                  <a:lnTo>
                    <a:pt x="0" y="92"/>
                  </a:lnTo>
                  <a:lnTo>
                    <a:pt x="1" y="83"/>
                  </a:lnTo>
                  <a:lnTo>
                    <a:pt x="5" y="78"/>
                  </a:lnTo>
                  <a:lnTo>
                    <a:pt x="10" y="69"/>
                  </a:lnTo>
                  <a:lnTo>
                    <a:pt x="24" y="69"/>
                  </a:lnTo>
                  <a:lnTo>
                    <a:pt x="28" y="69"/>
                  </a:lnTo>
                  <a:lnTo>
                    <a:pt x="33" y="63"/>
                  </a:lnTo>
                  <a:lnTo>
                    <a:pt x="43" y="69"/>
                  </a:lnTo>
                  <a:lnTo>
                    <a:pt x="51" y="69"/>
                  </a:lnTo>
                  <a:lnTo>
                    <a:pt x="61" y="58"/>
                  </a:lnTo>
                  <a:lnTo>
                    <a:pt x="61" y="53"/>
                  </a:lnTo>
                  <a:lnTo>
                    <a:pt x="56" y="53"/>
                  </a:lnTo>
                  <a:lnTo>
                    <a:pt x="56" y="49"/>
                  </a:lnTo>
                  <a:lnTo>
                    <a:pt x="61" y="44"/>
                  </a:lnTo>
                  <a:cubicBezTo>
                    <a:pt x="61" y="40"/>
                    <a:pt x="61" y="35"/>
                    <a:pt x="61" y="30"/>
                  </a:cubicBezTo>
                  <a:lnTo>
                    <a:pt x="68" y="23"/>
                  </a:lnTo>
                  <a:lnTo>
                    <a:pt x="68" y="18"/>
                  </a:lnTo>
                  <a:lnTo>
                    <a:pt x="63" y="14"/>
                  </a:lnTo>
                  <a:lnTo>
                    <a:pt x="68" y="9"/>
                  </a:lnTo>
                  <a:lnTo>
                    <a:pt x="72" y="9"/>
                  </a:lnTo>
                  <a:lnTo>
                    <a:pt x="72" y="5"/>
                  </a:lnTo>
                  <a:lnTo>
                    <a:pt x="77" y="9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105" y="0"/>
                  </a:lnTo>
                  <a:lnTo>
                    <a:pt x="114" y="0"/>
                  </a:lnTo>
                  <a:lnTo>
                    <a:pt x="114" y="5"/>
                  </a:lnTo>
                  <a:lnTo>
                    <a:pt x="119" y="9"/>
                  </a:lnTo>
                  <a:lnTo>
                    <a:pt x="123" y="9"/>
                  </a:lnTo>
                  <a:lnTo>
                    <a:pt x="123" y="5"/>
                  </a:lnTo>
                  <a:lnTo>
                    <a:pt x="133" y="9"/>
                  </a:lnTo>
                  <a:lnTo>
                    <a:pt x="142" y="14"/>
                  </a:lnTo>
                  <a:lnTo>
                    <a:pt x="151" y="14"/>
                  </a:lnTo>
                  <a:lnTo>
                    <a:pt x="156" y="22"/>
                  </a:lnTo>
                  <a:lnTo>
                    <a:pt x="170" y="29"/>
                  </a:lnTo>
                  <a:lnTo>
                    <a:pt x="174" y="34"/>
                  </a:lnTo>
                  <a:lnTo>
                    <a:pt x="179" y="34"/>
                  </a:lnTo>
                  <a:lnTo>
                    <a:pt x="179" y="39"/>
                  </a:lnTo>
                  <a:lnTo>
                    <a:pt x="175" y="38"/>
                  </a:lnTo>
                  <a:lnTo>
                    <a:pt x="165" y="48"/>
                  </a:lnTo>
                  <a:lnTo>
                    <a:pt x="165" y="52"/>
                  </a:lnTo>
                  <a:lnTo>
                    <a:pt x="170" y="57"/>
                  </a:lnTo>
                  <a:lnTo>
                    <a:pt x="170" y="62"/>
                  </a:lnTo>
                  <a:lnTo>
                    <a:pt x="156" y="63"/>
                  </a:lnTo>
                  <a:lnTo>
                    <a:pt x="155" y="89"/>
                  </a:lnTo>
                  <a:lnTo>
                    <a:pt x="151" y="97"/>
                  </a:lnTo>
                  <a:lnTo>
                    <a:pt x="147" y="97"/>
                  </a:lnTo>
                  <a:lnTo>
                    <a:pt x="142" y="102"/>
                  </a:lnTo>
                  <a:lnTo>
                    <a:pt x="141" y="108"/>
                  </a:lnTo>
                  <a:lnTo>
                    <a:pt x="136" y="114"/>
                  </a:lnTo>
                  <a:lnTo>
                    <a:pt x="132" y="122"/>
                  </a:lnTo>
                  <a:lnTo>
                    <a:pt x="119" y="127"/>
                  </a:lnTo>
                  <a:lnTo>
                    <a:pt x="109" y="127"/>
                  </a:lnTo>
                  <a:lnTo>
                    <a:pt x="96" y="131"/>
                  </a:lnTo>
                  <a:lnTo>
                    <a:pt x="91" y="136"/>
                  </a:lnTo>
                  <a:lnTo>
                    <a:pt x="82" y="136"/>
                  </a:lnTo>
                  <a:lnTo>
                    <a:pt x="77" y="141"/>
                  </a:lnTo>
                  <a:lnTo>
                    <a:pt x="72" y="141"/>
                  </a:lnTo>
                  <a:lnTo>
                    <a:pt x="72" y="136"/>
                  </a:lnTo>
                  <a:lnTo>
                    <a:pt x="68" y="132"/>
                  </a:lnTo>
                  <a:lnTo>
                    <a:pt x="63" y="127"/>
                  </a:lnTo>
                  <a:lnTo>
                    <a:pt x="67" y="118"/>
                  </a:lnTo>
                  <a:lnTo>
                    <a:pt x="63" y="118"/>
                  </a:lnTo>
                  <a:lnTo>
                    <a:pt x="60" y="114"/>
                  </a:lnTo>
                  <a:lnTo>
                    <a:pt x="61" y="96"/>
                  </a:lnTo>
                  <a:lnTo>
                    <a:pt x="57" y="92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29" y="92"/>
                  </a:lnTo>
                  <a:lnTo>
                    <a:pt x="15" y="92"/>
                  </a:lnTo>
                  <a:lnTo>
                    <a:pt x="10" y="87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Freeform 128">
              <a:extLst>
                <a:ext uri="{FF2B5EF4-FFF2-40B4-BE49-F238E27FC236}">
                  <a16:creationId xmlns:a16="http://schemas.microsoft.com/office/drawing/2014/main" id="{A5A98B6C-DC76-8146-DB03-FCA508B8F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2781" y="1870859"/>
              <a:ext cx="592190" cy="619530"/>
            </a:xfrm>
            <a:custGeom>
              <a:avLst/>
              <a:gdLst>
                <a:gd name="T0" fmla="*/ 1787857 w 149"/>
                <a:gd name="T1" fmla="*/ 11402107 h 160"/>
                <a:gd name="T2" fmla="*/ 0 w 149"/>
                <a:gd name="T3" fmla="*/ 15373855 h 160"/>
                <a:gd name="T4" fmla="*/ 1787857 w 149"/>
                <a:gd name="T5" fmla="*/ 17110416 h 160"/>
                <a:gd name="T6" fmla="*/ 1787857 w 149"/>
                <a:gd name="T7" fmla="*/ 20352714 h 160"/>
                <a:gd name="T8" fmla="*/ 3514252 w 149"/>
                <a:gd name="T9" fmla="*/ 21797114 h 160"/>
                <a:gd name="T10" fmla="*/ 2149801 w 149"/>
                <a:gd name="T11" fmla="*/ 24250993 h 160"/>
                <a:gd name="T12" fmla="*/ 3514252 w 149"/>
                <a:gd name="T13" fmla="*/ 27505403 h 160"/>
                <a:gd name="T14" fmla="*/ 2149801 w 149"/>
                <a:gd name="T15" fmla="*/ 29226974 h 160"/>
                <a:gd name="T16" fmla="*/ 3514252 w 149"/>
                <a:gd name="T17" fmla="*/ 34279900 h 160"/>
                <a:gd name="T18" fmla="*/ 4225697 w 149"/>
                <a:gd name="T19" fmla="*/ 36382555 h 160"/>
                <a:gd name="T20" fmla="*/ 11692541 w 149"/>
                <a:gd name="T21" fmla="*/ 32833082 h 160"/>
                <a:gd name="T22" fmla="*/ 14844852 w 149"/>
                <a:gd name="T23" fmla="*/ 34645994 h 160"/>
                <a:gd name="T24" fmla="*/ 18432372 w 149"/>
                <a:gd name="T25" fmla="*/ 36016303 h 160"/>
                <a:gd name="T26" fmla="*/ 24825705 w 149"/>
                <a:gd name="T27" fmla="*/ 37826327 h 160"/>
                <a:gd name="T28" fmla="*/ 29777807 w 149"/>
                <a:gd name="T29" fmla="*/ 41069367 h 160"/>
                <a:gd name="T30" fmla="*/ 36518240 w 149"/>
                <a:gd name="T31" fmla="*/ 44967047 h 160"/>
                <a:gd name="T32" fmla="*/ 38247039 w 149"/>
                <a:gd name="T33" fmla="*/ 46777527 h 160"/>
                <a:gd name="T34" fmla="*/ 34733406 w 149"/>
                <a:gd name="T35" fmla="*/ 48135871 h 160"/>
                <a:gd name="T36" fmla="*/ 32930711 w 149"/>
                <a:gd name="T37" fmla="*/ 51390281 h 160"/>
                <a:gd name="T38" fmla="*/ 34733406 w 149"/>
                <a:gd name="T39" fmla="*/ 54922293 h 160"/>
                <a:gd name="T40" fmla="*/ 41108903 w 149"/>
                <a:gd name="T41" fmla="*/ 54922293 h 160"/>
                <a:gd name="T42" fmla="*/ 42911588 w 149"/>
                <a:gd name="T43" fmla="*/ 44967047 h 160"/>
                <a:gd name="T44" fmla="*/ 44622624 w 149"/>
                <a:gd name="T45" fmla="*/ 27505403 h 160"/>
                <a:gd name="T46" fmla="*/ 46425340 w 149"/>
                <a:gd name="T47" fmla="*/ 24980453 h 160"/>
                <a:gd name="T48" fmla="*/ 51015962 w 149"/>
                <a:gd name="T49" fmla="*/ 21797114 h 160"/>
                <a:gd name="T50" fmla="*/ 51015962 w 149"/>
                <a:gd name="T51" fmla="*/ 18557688 h 160"/>
                <a:gd name="T52" fmla="*/ 49651409 w 149"/>
                <a:gd name="T53" fmla="*/ 13563959 h 160"/>
                <a:gd name="T54" fmla="*/ 51015962 w 149"/>
                <a:gd name="T55" fmla="*/ 6789469 h 160"/>
                <a:gd name="T56" fmla="*/ 45713880 w 149"/>
                <a:gd name="T57" fmla="*/ 3183226 h 160"/>
                <a:gd name="T58" fmla="*/ 42546611 w 149"/>
                <a:gd name="T59" fmla="*/ 0 h 160"/>
                <a:gd name="T60" fmla="*/ 37594657 w 149"/>
                <a:gd name="T61" fmla="*/ 3183226 h 160"/>
                <a:gd name="T62" fmla="*/ 34368469 w 149"/>
                <a:gd name="T63" fmla="*/ 4978855 h 160"/>
                <a:gd name="T64" fmla="*/ 32930711 w 149"/>
                <a:gd name="T65" fmla="*/ 1080570 h 160"/>
                <a:gd name="T66" fmla="*/ 27978016 w 149"/>
                <a:gd name="T67" fmla="*/ 4264404 h 160"/>
                <a:gd name="T68" fmla="*/ 16647538 w 149"/>
                <a:gd name="T69" fmla="*/ 7870039 h 160"/>
                <a:gd name="T70" fmla="*/ 11692541 w 149"/>
                <a:gd name="T71" fmla="*/ 11035983 h 160"/>
                <a:gd name="T72" fmla="*/ 8540232 w 149"/>
                <a:gd name="T73" fmla="*/ 13563959 h 160"/>
                <a:gd name="T74" fmla="*/ 4952099 w 149"/>
                <a:gd name="T75" fmla="*/ 9606476 h 16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9"/>
                <a:gd name="T115" fmla="*/ 0 h 160"/>
                <a:gd name="T116" fmla="*/ 149 w 149"/>
                <a:gd name="T117" fmla="*/ 160 h 16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9" h="160">
                  <a:moveTo>
                    <a:pt x="14" y="27"/>
                  </a:moveTo>
                  <a:lnTo>
                    <a:pt x="5" y="32"/>
                  </a:lnTo>
                  <a:lnTo>
                    <a:pt x="5" y="38"/>
                  </a:lnTo>
                  <a:lnTo>
                    <a:pt x="0" y="43"/>
                  </a:lnTo>
                  <a:lnTo>
                    <a:pt x="9" y="47"/>
                  </a:lnTo>
                  <a:lnTo>
                    <a:pt x="5" y="48"/>
                  </a:lnTo>
                  <a:lnTo>
                    <a:pt x="5" y="52"/>
                  </a:lnTo>
                  <a:lnTo>
                    <a:pt x="5" y="57"/>
                  </a:lnTo>
                  <a:lnTo>
                    <a:pt x="5" y="61"/>
                  </a:lnTo>
                  <a:lnTo>
                    <a:pt x="10" y="61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10" y="77"/>
                  </a:lnTo>
                  <a:lnTo>
                    <a:pt x="6" y="77"/>
                  </a:lnTo>
                  <a:lnTo>
                    <a:pt x="6" y="82"/>
                  </a:lnTo>
                  <a:lnTo>
                    <a:pt x="10" y="92"/>
                  </a:lnTo>
                  <a:lnTo>
                    <a:pt x="10" y="96"/>
                  </a:lnTo>
                  <a:lnTo>
                    <a:pt x="10" y="101"/>
                  </a:lnTo>
                  <a:lnTo>
                    <a:pt x="12" y="102"/>
                  </a:lnTo>
                  <a:lnTo>
                    <a:pt x="14" y="101"/>
                  </a:lnTo>
                  <a:lnTo>
                    <a:pt x="33" y="92"/>
                  </a:lnTo>
                  <a:lnTo>
                    <a:pt x="42" y="92"/>
                  </a:lnTo>
                  <a:lnTo>
                    <a:pt x="42" y="97"/>
                  </a:lnTo>
                  <a:lnTo>
                    <a:pt x="47" y="101"/>
                  </a:lnTo>
                  <a:lnTo>
                    <a:pt x="52" y="101"/>
                  </a:lnTo>
                  <a:lnTo>
                    <a:pt x="52" y="97"/>
                  </a:lnTo>
                  <a:lnTo>
                    <a:pt x="70" y="106"/>
                  </a:lnTo>
                  <a:lnTo>
                    <a:pt x="79" y="105"/>
                  </a:lnTo>
                  <a:lnTo>
                    <a:pt x="84" y="115"/>
                  </a:lnTo>
                  <a:lnTo>
                    <a:pt x="98" y="121"/>
                  </a:lnTo>
                  <a:lnTo>
                    <a:pt x="103" y="126"/>
                  </a:lnTo>
                  <a:lnTo>
                    <a:pt x="108" y="126"/>
                  </a:lnTo>
                  <a:lnTo>
                    <a:pt x="108" y="131"/>
                  </a:lnTo>
                  <a:lnTo>
                    <a:pt x="103" y="131"/>
                  </a:lnTo>
                  <a:lnTo>
                    <a:pt x="98" y="135"/>
                  </a:lnTo>
                  <a:lnTo>
                    <a:pt x="93" y="140"/>
                  </a:lnTo>
                  <a:lnTo>
                    <a:pt x="93" y="144"/>
                  </a:lnTo>
                  <a:lnTo>
                    <a:pt x="98" y="149"/>
                  </a:lnTo>
                  <a:lnTo>
                    <a:pt x="98" y="154"/>
                  </a:lnTo>
                  <a:lnTo>
                    <a:pt x="108" y="160"/>
                  </a:lnTo>
                  <a:lnTo>
                    <a:pt x="116" y="154"/>
                  </a:lnTo>
                  <a:lnTo>
                    <a:pt x="116" y="144"/>
                  </a:lnTo>
                  <a:lnTo>
                    <a:pt x="121" y="126"/>
                  </a:lnTo>
                  <a:cubicBezTo>
                    <a:pt x="121" y="112"/>
                    <a:pt x="121" y="96"/>
                    <a:pt x="121" y="82"/>
                  </a:cubicBezTo>
                  <a:lnTo>
                    <a:pt x="126" y="77"/>
                  </a:lnTo>
                  <a:lnTo>
                    <a:pt x="126" y="70"/>
                  </a:lnTo>
                  <a:lnTo>
                    <a:pt x="131" y="70"/>
                  </a:lnTo>
                  <a:lnTo>
                    <a:pt x="135" y="70"/>
                  </a:lnTo>
                  <a:lnTo>
                    <a:pt x="144" y="61"/>
                  </a:lnTo>
                  <a:lnTo>
                    <a:pt x="149" y="52"/>
                  </a:lnTo>
                  <a:lnTo>
                    <a:pt x="144" y="52"/>
                  </a:lnTo>
                  <a:lnTo>
                    <a:pt x="144" y="47"/>
                  </a:lnTo>
                  <a:lnTo>
                    <a:pt x="140" y="38"/>
                  </a:lnTo>
                  <a:lnTo>
                    <a:pt x="144" y="38"/>
                  </a:lnTo>
                  <a:cubicBezTo>
                    <a:pt x="144" y="32"/>
                    <a:pt x="144" y="25"/>
                    <a:pt x="144" y="19"/>
                  </a:cubicBezTo>
                  <a:lnTo>
                    <a:pt x="134" y="9"/>
                  </a:lnTo>
                  <a:lnTo>
                    <a:pt x="129" y="9"/>
                  </a:lnTo>
                  <a:lnTo>
                    <a:pt x="125" y="5"/>
                  </a:lnTo>
                  <a:lnTo>
                    <a:pt x="120" y="0"/>
                  </a:lnTo>
                  <a:lnTo>
                    <a:pt x="111" y="9"/>
                  </a:lnTo>
                  <a:lnTo>
                    <a:pt x="106" y="9"/>
                  </a:lnTo>
                  <a:lnTo>
                    <a:pt x="101" y="13"/>
                  </a:lnTo>
                  <a:lnTo>
                    <a:pt x="97" y="14"/>
                  </a:lnTo>
                  <a:lnTo>
                    <a:pt x="92" y="9"/>
                  </a:lnTo>
                  <a:lnTo>
                    <a:pt x="93" y="3"/>
                  </a:lnTo>
                  <a:lnTo>
                    <a:pt x="89" y="3"/>
                  </a:lnTo>
                  <a:lnTo>
                    <a:pt x="79" y="12"/>
                  </a:lnTo>
                  <a:cubicBezTo>
                    <a:pt x="69" y="12"/>
                    <a:pt x="57" y="12"/>
                    <a:pt x="47" y="12"/>
                  </a:cubicBezTo>
                  <a:lnTo>
                    <a:pt x="47" y="22"/>
                  </a:lnTo>
                  <a:lnTo>
                    <a:pt x="42" y="31"/>
                  </a:lnTo>
                  <a:lnTo>
                    <a:pt x="33" y="31"/>
                  </a:lnTo>
                  <a:lnTo>
                    <a:pt x="33" y="38"/>
                  </a:lnTo>
                  <a:lnTo>
                    <a:pt x="24" y="38"/>
                  </a:lnTo>
                  <a:lnTo>
                    <a:pt x="20" y="27"/>
                  </a:lnTo>
                  <a:lnTo>
                    <a:pt x="14" y="27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Freeform 129">
              <a:extLst>
                <a:ext uri="{FF2B5EF4-FFF2-40B4-BE49-F238E27FC236}">
                  <a16:creationId xmlns:a16="http://schemas.microsoft.com/office/drawing/2014/main" id="{287E704E-DA0A-642C-E30D-64B134D68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7379" y="1496478"/>
              <a:ext cx="371728" cy="524760"/>
            </a:xfrm>
            <a:custGeom>
              <a:avLst/>
              <a:gdLst>
                <a:gd name="T0" fmla="*/ 1863594 w 93"/>
                <a:gd name="T1" fmla="*/ 43032130 h 136"/>
                <a:gd name="T2" fmla="*/ 4102451 w 93"/>
                <a:gd name="T3" fmla="*/ 43032130 h 136"/>
                <a:gd name="T4" fmla="*/ 5606083 w 93"/>
                <a:gd name="T5" fmla="*/ 46833275 h 136"/>
                <a:gd name="T6" fmla="*/ 8882715 w 93"/>
                <a:gd name="T7" fmla="*/ 47190148 h 136"/>
                <a:gd name="T8" fmla="*/ 8882715 w 93"/>
                <a:gd name="T9" fmla="*/ 44445277 h 136"/>
                <a:gd name="T10" fmla="*/ 12249936 w 93"/>
                <a:gd name="T11" fmla="*/ 44445277 h 136"/>
                <a:gd name="T12" fmla="*/ 14114130 w 93"/>
                <a:gd name="T13" fmla="*/ 41273312 h 136"/>
                <a:gd name="T14" fmla="*/ 14114130 w 93"/>
                <a:gd name="T15" fmla="*/ 37826242 h 136"/>
                <a:gd name="T16" fmla="*/ 25985981 w 93"/>
                <a:gd name="T17" fmla="*/ 37826242 h 136"/>
                <a:gd name="T18" fmla="*/ 29262484 w 93"/>
                <a:gd name="T19" fmla="*/ 35068937 h 136"/>
                <a:gd name="T20" fmla="*/ 30766140 w 93"/>
                <a:gd name="T21" fmla="*/ 33310720 h 136"/>
                <a:gd name="T22" fmla="*/ 32629837 w 93"/>
                <a:gd name="T23" fmla="*/ 33310720 h 136"/>
                <a:gd name="T24" fmla="*/ 34118291 w 93"/>
                <a:gd name="T25" fmla="*/ 29506107 h 136"/>
                <a:gd name="T26" fmla="*/ 34493415 w 93"/>
                <a:gd name="T27" fmla="*/ 25002310 h 136"/>
                <a:gd name="T28" fmla="*/ 32629837 w 93"/>
                <a:gd name="T29" fmla="*/ 21485757 h 136"/>
                <a:gd name="T30" fmla="*/ 31141403 w 93"/>
                <a:gd name="T31" fmla="*/ 16340480 h 136"/>
                <a:gd name="T32" fmla="*/ 31141403 w 93"/>
                <a:gd name="T33" fmla="*/ 9721437 h 136"/>
                <a:gd name="T34" fmla="*/ 29262484 w 93"/>
                <a:gd name="T35" fmla="*/ 4161621 h 136"/>
                <a:gd name="T36" fmla="*/ 30766140 w 93"/>
                <a:gd name="T37" fmla="*/ 2744877 h 136"/>
                <a:gd name="T38" fmla="*/ 29262484 w 93"/>
                <a:gd name="T39" fmla="*/ 2744877 h 136"/>
                <a:gd name="T40" fmla="*/ 27474436 w 93"/>
                <a:gd name="T41" fmla="*/ 0 h 136"/>
                <a:gd name="T42" fmla="*/ 25610698 w 93"/>
                <a:gd name="T43" fmla="*/ 2402669 h 136"/>
                <a:gd name="T44" fmla="*/ 24122284 w 93"/>
                <a:gd name="T45" fmla="*/ 4161621 h 136"/>
                <a:gd name="T46" fmla="*/ 22243484 w 93"/>
                <a:gd name="T47" fmla="*/ 4161621 h 136"/>
                <a:gd name="T48" fmla="*/ 20755045 w 93"/>
                <a:gd name="T49" fmla="*/ 6975956 h 136"/>
                <a:gd name="T50" fmla="*/ 20379911 w 93"/>
                <a:gd name="T51" fmla="*/ 14225241 h 136"/>
                <a:gd name="T52" fmla="*/ 19269552 w 93"/>
                <a:gd name="T53" fmla="*/ 15281358 h 136"/>
                <a:gd name="T54" fmla="*/ 18891328 w 93"/>
                <a:gd name="T55" fmla="*/ 19085478 h 136"/>
                <a:gd name="T56" fmla="*/ 20379911 w 93"/>
                <a:gd name="T57" fmla="*/ 19085478 h 136"/>
                <a:gd name="T58" fmla="*/ 20379911 w 93"/>
                <a:gd name="T59" fmla="*/ 22530169 h 136"/>
                <a:gd name="T60" fmla="*/ 11874782 w 93"/>
                <a:gd name="T61" fmla="*/ 22887062 h 136"/>
                <a:gd name="T62" fmla="*/ 8507456 w 93"/>
                <a:gd name="T63" fmla="*/ 25705002 h 136"/>
                <a:gd name="T64" fmla="*/ 5230944 w 93"/>
                <a:gd name="T65" fmla="*/ 27390878 h 136"/>
                <a:gd name="T66" fmla="*/ 3367354 w 93"/>
                <a:gd name="T67" fmla="*/ 31552365 h 136"/>
                <a:gd name="T68" fmla="*/ 1863594 w 93"/>
                <a:gd name="T69" fmla="*/ 34366836 h 136"/>
                <a:gd name="T70" fmla="*/ 1863594 w 93"/>
                <a:gd name="T71" fmla="*/ 37469329 h 136"/>
                <a:gd name="T72" fmla="*/ 0 w 93"/>
                <a:gd name="T73" fmla="*/ 41273312 h 136"/>
                <a:gd name="T74" fmla="*/ 1863594 w 93"/>
                <a:gd name="T75" fmla="*/ 43032130 h 1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3"/>
                <a:gd name="T115" fmla="*/ 0 h 136"/>
                <a:gd name="T116" fmla="*/ 93 w 93"/>
                <a:gd name="T117" fmla="*/ 136 h 1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3" h="136">
                  <a:moveTo>
                    <a:pt x="5" y="124"/>
                  </a:moveTo>
                  <a:lnTo>
                    <a:pt x="11" y="124"/>
                  </a:lnTo>
                  <a:lnTo>
                    <a:pt x="15" y="135"/>
                  </a:lnTo>
                  <a:lnTo>
                    <a:pt x="24" y="136"/>
                  </a:lnTo>
                  <a:lnTo>
                    <a:pt x="24" y="128"/>
                  </a:lnTo>
                  <a:lnTo>
                    <a:pt x="33" y="128"/>
                  </a:lnTo>
                  <a:lnTo>
                    <a:pt x="38" y="119"/>
                  </a:lnTo>
                  <a:lnTo>
                    <a:pt x="38" y="109"/>
                  </a:lnTo>
                  <a:lnTo>
                    <a:pt x="70" y="109"/>
                  </a:lnTo>
                  <a:lnTo>
                    <a:pt x="79" y="101"/>
                  </a:lnTo>
                  <a:lnTo>
                    <a:pt x="83" y="96"/>
                  </a:lnTo>
                  <a:lnTo>
                    <a:pt x="88" y="96"/>
                  </a:lnTo>
                  <a:lnTo>
                    <a:pt x="92" y="85"/>
                  </a:lnTo>
                  <a:lnTo>
                    <a:pt x="93" y="72"/>
                  </a:lnTo>
                  <a:lnTo>
                    <a:pt x="88" y="62"/>
                  </a:lnTo>
                  <a:lnTo>
                    <a:pt x="84" y="47"/>
                  </a:lnTo>
                  <a:lnTo>
                    <a:pt x="84" y="28"/>
                  </a:lnTo>
                  <a:lnTo>
                    <a:pt x="79" y="12"/>
                  </a:lnTo>
                  <a:lnTo>
                    <a:pt x="83" y="8"/>
                  </a:lnTo>
                  <a:lnTo>
                    <a:pt x="79" y="8"/>
                  </a:lnTo>
                  <a:lnTo>
                    <a:pt x="74" y="0"/>
                  </a:lnTo>
                  <a:lnTo>
                    <a:pt x="69" y="7"/>
                  </a:lnTo>
                  <a:lnTo>
                    <a:pt x="65" y="12"/>
                  </a:lnTo>
                  <a:lnTo>
                    <a:pt x="60" y="12"/>
                  </a:lnTo>
                  <a:lnTo>
                    <a:pt x="56" y="20"/>
                  </a:lnTo>
                  <a:lnTo>
                    <a:pt x="55" y="41"/>
                  </a:lnTo>
                  <a:lnTo>
                    <a:pt x="52" y="44"/>
                  </a:lnTo>
                  <a:lnTo>
                    <a:pt x="51" y="55"/>
                  </a:lnTo>
                  <a:lnTo>
                    <a:pt x="55" y="55"/>
                  </a:lnTo>
                  <a:lnTo>
                    <a:pt x="55" y="65"/>
                  </a:lnTo>
                  <a:lnTo>
                    <a:pt x="32" y="66"/>
                  </a:lnTo>
                  <a:lnTo>
                    <a:pt x="23" y="74"/>
                  </a:lnTo>
                  <a:lnTo>
                    <a:pt x="14" y="79"/>
                  </a:lnTo>
                  <a:lnTo>
                    <a:pt x="9" y="91"/>
                  </a:lnTo>
                  <a:lnTo>
                    <a:pt x="5" y="99"/>
                  </a:lnTo>
                  <a:lnTo>
                    <a:pt x="5" y="108"/>
                  </a:lnTo>
                  <a:lnTo>
                    <a:pt x="0" y="119"/>
                  </a:lnTo>
                  <a:lnTo>
                    <a:pt x="5" y="124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Freeform 130">
              <a:extLst>
                <a:ext uri="{FF2B5EF4-FFF2-40B4-BE49-F238E27FC236}">
                  <a16:creationId xmlns:a16="http://schemas.microsoft.com/office/drawing/2014/main" id="{DCF6ABA3-46C8-DB5A-5D5B-8BE918205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430" y="1801935"/>
              <a:ext cx="481959" cy="254548"/>
            </a:xfrm>
            <a:custGeom>
              <a:avLst/>
              <a:gdLst>
                <a:gd name="T0" fmla="*/ 43638812 w 121"/>
                <a:gd name="T1" fmla="*/ 13830905 h 66"/>
                <a:gd name="T2" fmla="*/ 21635073 w 121"/>
                <a:gd name="T3" fmla="*/ 5903797 h 66"/>
                <a:gd name="T4" fmla="*/ 1457016 w 121"/>
                <a:gd name="T5" fmla="*/ 0 h 66"/>
                <a:gd name="T6" fmla="*/ 1825718 w 121"/>
                <a:gd name="T7" fmla="*/ 2110825 h 66"/>
                <a:gd name="T8" fmla="*/ 0 w 121"/>
                <a:gd name="T9" fmla="*/ 4490298 h 66"/>
                <a:gd name="T10" fmla="*/ 6490379 w 121"/>
                <a:gd name="T11" fmla="*/ 10735823 h 66"/>
                <a:gd name="T12" fmla="*/ 6490379 w 121"/>
                <a:gd name="T13" fmla="*/ 14187204 h 66"/>
                <a:gd name="T14" fmla="*/ 10126273 w 121"/>
                <a:gd name="T15" fmla="*/ 14187204 h 66"/>
                <a:gd name="T16" fmla="*/ 13334524 w 121"/>
                <a:gd name="T17" fmla="*/ 17264706 h 66"/>
                <a:gd name="T18" fmla="*/ 16616647 w 121"/>
                <a:gd name="T19" fmla="*/ 17264706 h 66"/>
                <a:gd name="T20" fmla="*/ 20178062 w 121"/>
                <a:gd name="T21" fmla="*/ 14187204 h 66"/>
                <a:gd name="T22" fmla="*/ 21635073 w 121"/>
                <a:gd name="T23" fmla="*/ 14187204 h 66"/>
                <a:gd name="T24" fmla="*/ 21635073 w 121"/>
                <a:gd name="T25" fmla="*/ 22812202 h 66"/>
                <a:gd name="T26" fmla="*/ 31761358 w 121"/>
                <a:gd name="T27" fmla="*/ 22812202 h 66"/>
                <a:gd name="T28" fmla="*/ 34969601 w 121"/>
                <a:gd name="T29" fmla="*/ 21413974 h 66"/>
                <a:gd name="T30" fmla="*/ 36794699 w 121"/>
                <a:gd name="T31" fmla="*/ 19731839 h 66"/>
                <a:gd name="T32" fmla="*/ 38620431 w 121"/>
                <a:gd name="T33" fmla="*/ 19731839 h 66"/>
                <a:gd name="T34" fmla="*/ 43638812 w 121"/>
                <a:gd name="T35" fmla="*/ 13830905 h 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1"/>
                <a:gd name="T55" fmla="*/ 0 h 66"/>
                <a:gd name="T56" fmla="*/ 121 w 121"/>
                <a:gd name="T57" fmla="*/ 66 h 6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1" h="66">
                  <a:moveTo>
                    <a:pt x="121" y="40"/>
                  </a:moveTo>
                  <a:lnTo>
                    <a:pt x="60" y="17"/>
                  </a:lnTo>
                  <a:lnTo>
                    <a:pt x="4" y="0"/>
                  </a:lnTo>
                  <a:lnTo>
                    <a:pt x="5" y="6"/>
                  </a:lnTo>
                  <a:lnTo>
                    <a:pt x="0" y="13"/>
                  </a:lnTo>
                  <a:cubicBezTo>
                    <a:pt x="6" y="19"/>
                    <a:pt x="13" y="25"/>
                    <a:pt x="18" y="31"/>
                  </a:cubicBezTo>
                  <a:lnTo>
                    <a:pt x="18" y="41"/>
                  </a:lnTo>
                  <a:lnTo>
                    <a:pt x="28" y="41"/>
                  </a:lnTo>
                  <a:lnTo>
                    <a:pt x="37" y="50"/>
                  </a:lnTo>
                  <a:lnTo>
                    <a:pt x="46" y="50"/>
                  </a:lnTo>
                  <a:lnTo>
                    <a:pt x="56" y="41"/>
                  </a:lnTo>
                  <a:lnTo>
                    <a:pt x="60" y="41"/>
                  </a:lnTo>
                  <a:lnTo>
                    <a:pt x="60" y="66"/>
                  </a:lnTo>
                  <a:cubicBezTo>
                    <a:pt x="70" y="66"/>
                    <a:pt x="79" y="66"/>
                    <a:pt x="88" y="66"/>
                  </a:cubicBezTo>
                  <a:lnTo>
                    <a:pt x="97" y="62"/>
                  </a:lnTo>
                  <a:lnTo>
                    <a:pt x="102" y="57"/>
                  </a:lnTo>
                  <a:lnTo>
                    <a:pt x="107" y="57"/>
                  </a:lnTo>
                  <a:lnTo>
                    <a:pt x="121" y="40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Freeform 131">
              <a:extLst>
                <a:ext uri="{FF2B5EF4-FFF2-40B4-BE49-F238E27FC236}">
                  <a16:creationId xmlns:a16="http://schemas.microsoft.com/office/drawing/2014/main" id="{92A2BC44-03DF-E38E-72C3-81BF00015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332" y="988949"/>
              <a:ext cx="408740" cy="421374"/>
            </a:xfrm>
            <a:custGeom>
              <a:avLst/>
              <a:gdLst>
                <a:gd name="T0" fmla="*/ 24496571 w 103"/>
                <a:gd name="T1" fmla="*/ 0 h 109"/>
                <a:gd name="T2" fmla="*/ 27677045 w 103"/>
                <a:gd name="T3" fmla="*/ 0 h 109"/>
                <a:gd name="T4" fmla="*/ 29390593 w 103"/>
                <a:gd name="T5" fmla="*/ 1778179 h 109"/>
                <a:gd name="T6" fmla="*/ 27677045 w 103"/>
                <a:gd name="T7" fmla="*/ 3497568 h 109"/>
                <a:gd name="T8" fmla="*/ 29390593 w 103"/>
                <a:gd name="T9" fmla="*/ 5999150 h 109"/>
                <a:gd name="T10" fmla="*/ 31161628 w 103"/>
                <a:gd name="T11" fmla="*/ 7416962 h 109"/>
                <a:gd name="T12" fmla="*/ 31161628 w 103"/>
                <a:gd name="T13" fmla="*/ 8776700 h 109"/>
                <a:gd name="T14" fmla="*/ 29390593 w 103"/>
                <a:gd name="T15" fmla="*/ 10554871 h 109"/>
                <a:gd name="T16" fmla="*/ 29390593 w 103"/>
                <a:gd name="T17" fmla="*/ 17263226 h 109"/>
                <a:gd name="T18" fmla="*/ 31161628 w 103"/>
                <a:gd name="T19" fmla="*/ 19694225 h 109"/>
                <a:gd name="T20" fmla="*/ 34284614 w 103"/>
                <a:gd name="T21" fmla="*/ 22902121 h 109"/>
                <a:gd name="T22" fmla="*/ 36055630 w 103"/>
                <a:gd name="T23" fmla="*/ 22902121 h 109"/>
                <a:gd name="T24" fmla="*/ 36055630 w 103"/>
                <a:gd name="T25" fmla="*/ 27832272 h 109"/>
                <a:gd name="T26" fmla="*/ 31161628 w 103"/>
                <a:gd name="T27" fmla="*/ 27832272 h 109"/>
                <a:gd name="T28" fmla="*/ 29390593 w 103"/>
                <a:gd name="T29" fmla="*/ 29264418 h 109"/>
                <a:gd name="T30" fmla="*/ 29390593 w 103"/>
                <a:gd name="T31" fmla="*/ 30969611 h 109"/>
                <a:gd name="T32" fmla="*/ 27677045 w 103"/>
                <a:gd name="T33" fmla="*/ 30969611 h 109"/>
                <a:gd name="T34" fmla="*/ 24496571 w 103"/>
                <a:gd name="T35" fmla="*/ 35249365 h 109"/>
                <a:gd name="T36" fmla="*/ 22783024 w 103"/>
                <a:gd name="T37" fmla="*/ 32762562 h 109"/>
                <a:gd name="T38" fmla="*/ 19590797 w 103"/>
                <a:gd name="T39" fmla="*/ 35249365 h 109"/>
                <a:gd name="T40" fmla="*/ 19590797 w 103"/>
                <a:gd name="T41" fmla="*/ 38386566 h 109"/>
                <a:gd name="T42" fmla="*/ 17892016 w 103"/>
                <a:gd name="T43" fmla="*/ 38386566 h 109"/>
                <a:gd name="T44" fmla="*/ 13631683 w 103"/>
                <a:gd name="T45" fmla="*/ 35612619 h 109"/>
                <a:gd name="T46" fmla="*/ 14696806 w 103"/>
                <a:gd name="T47" fmla="*/ 35249365 h 109"/>
                <a:gd name="T48" fmla="*/ 14696806 w 103"/>
                <a:gd name="T49" fmla="*/ 30969611 h 109"/>
                <a:gd name="T50" fmla="*/ 11571403 w 103"/>
                <a:gd name="T51" fmla="*/ 19694225 h 109"/>
                <a:gd name="T52" fmla="*/ 8375588 w 103"/>
                <a:gd name="T53" fmla="*/ 17263226 h 109"/>
                <a:gd name="T54" fmla="*/ 5253204 w 103"/>
                <a:gd name="T55" fmla="*/ 17263226 h 109"/>
                <a:gd name="T56" fmla="*/ 5253204 w 103"/>
                <a:gd name="T57" fmla="*/ 15485042 h 109"/>
                <a:gd name="T58" fmla="*/ 3484584 w 103"/>
                <a:gd name="T59" fmla="*/ 14055315 h 109"/>
                <a:gd name="T60" fmla="*/ 3484584 w 103"/>
                <a:gd name="T61" fmla="*/ 10554871 h 109"/>
                <a:gd name="T62" fmla="*/ 0 w 103"/>
                <a:gd name="T63" fmla="*/ 8776700 h 109"/>
                <a:gd name="T64" fmla="*/ 0 w 103"/>
                <a:gd name="T65" fmla="*/ 7416962 h 109"/>
                <a:gd name="T66" fmla="*/ 3484584 w 103"/>
                <a:gd name="T67" fmla="*/ 7416962 h 109"/>
                <a:gd name="T68" fmla="*/ 5253204 w 103"/>
                <a:gd name="T69" fmla="*/ 8776700 h 109"/>
                <a:gd name="T70" fmla="*/ 8375588 w 103"/>
                <a:gd name="T71" fmla="*/ 8776700 h 109"/>
                <a:gd name="T72" fmla="*/ 11571403 w 103"/>
                <a:gd name="T73" fmla="*/ 10554871 h 109"/>
                <a:gd name="T74" fmla="*/ 11571403 w 103"/>
                <a:gd name="T75" fmla="*/ 8776700 h 109"/>
                <a:gd name="T76" fmla="*/ 14696806 w 103"/>
                <a:gd name="T77" fmla="*/ 7416962 h 109"/>
                <a:gd name="T78" fmla="*/ 17892016 w 103"/>
                <a:gd name="T79" fmla="*/ 7416962 h 109"/>
                <a:gd name="T80" fmla="*/ 19590797 w 103"/>
                <a:gd name="T81" fmla="*/ 5999150 h 109"/>
                <a:gd name="T82" fmla="*/ 22783024 w 103"/>
                <a:gd name="T83" fmla="*/ 5999150 h 109"/>
                <a:gd name="T84" fmla="*/ 26267607 w 103"/>
                <a:gd name="T85" fmla="*/ 1778179 h 109"/>
                <a:gd name="T86" fmla="*/ 24496571 w 103"/>
                <a:gd name="T87" fmla="*/ 0 h 10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3"/>
                <a:gd name="T133" fmla="*/ 0 h 109"/>
                <a:gd name="T134" fmla="*/ 103 w 103"/>
                <a:gd name="T135" fmla="*/ 109 h 10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3" h="109">
                  <a:moveTo>
                    <a:pt x="70" y="0"/>
                  </a:moveTo>
                  <a:lnTo>
                    <a:pt x="79" y="0"/>
                  </a:lnTo>
                  <a:lnTo>
                    <a:pt x="84" y="5"/>
                  </a:lnTo>
                  <a:lnTo>
                    <a:pt x="79" y="10"/>
                  </a:lnTo>
                  <a:lnTo>
                    <a:pt x="84" y="17"/>
                  </a:lnTo>
                  <a:lnTo>
                    <a:pt x="89" y="21"/>
                  </a:lnTo>
                  <a:lnTo>
                    <a:pt x="89" y="25"/>
                  </a:lnTo>
                  <a:lnTo>
                    <a:pt x="84" y="30"/>
                  </a:lnTo>
                  <a:cubicBezTo>
                    <a:pt x="84" y="36"/>
                    <a:pt x="84" y="43"/>
                    <a:pt x="84" y="49"/>
                  </a:cubicBezTo>
                  <a:lnTo>
                    <a:pt x="89" y="56"/>
                  </a:lnTo>
                  <a:lnTo>
                    <a:pt x="98" y="65"/>
                  </a:lnTo>
                  <a:lnTo>
                    <a:pt x="103" y="65"/>
                  </a:lnTo>
                  <a:lnTo>
                    <a:pt x="103" y="79"/>
                  </a:lnTo>
                  <a:lnTo>
                    <a:pt x="89" y="79"/>
                  </a:lnTo>
                  <a:lnTo>
                    <a:pt x="84" y="83"/>
                  </a:lnTo>
                  <a:lnTo>
                    <a:pt x="84" y="88"/>
                  </a:lnTo>
                  <a:lnTo>
                    <a:pt x="79" y="88"/>
                  </a:lnTo>
                  <a:lnTo>
                    <a:pt x="70" y="100"/>
                  </a:lnTo>
                  <a:lnTo>
                    <a:pt x="65" y="93"/>
                  </a:lnTo>
                  <a:lnTo>
                    <a:pt x="56" y="100"/>
                  </a:lnTo>
                  <a:lnTo>
                    <a:pt x="56" y="109"/>
                  </a:lnTo>
                  <a:lnTo>
                    <a:pt x="51" y="109"/>
                  </a:lnTo>
                  <a:lnTo>
                    <a:pt x="39" y="101"/>
                  </a:lnTo>
                  <a:lnTo>
                    <a:pt x="42" y="100"/>
                  </a:lnTo>
                  <a:lnTo>
                    <a:pt x="42" y="88"/>
                  </a:lnTo>
                  <a:lnTo>
                    <a:pt x="33" y="56"/>
                  </a:lnTo>
                  <a:lnTo>
                    <a:pt x="24" y="49"/>
                  </a:lnTo>
                  <a:lnTo>
                    <a:pt x="15" y="49"/>
                  </a:lnTo>
                  <a:lnTo>
                    <a:pt x="15" y="44"/>
                  </a:lnTo>
                  <a:lnTo>
                    <a:pt x="10" y="40"/>
                  </a:lnTo>
                  <a:lnTo>
                    <a:pt x="10" y="30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0" y="21"/>
                  </a:lnTo>
                  <a:lnTo>
                    <a:pt x="15" y="25"/>
                  </a:lnTo>
                  <a:lnTo>
                    <a:pt x="24" y="25"/>
                  </a:lnTo>
                  <a:lnTo>
                    <a:pt x="33" y="30"/>
                  </a:lnTo>
                  <a:lnTo>
                    <a:pt x="33" y="25"/>
                  </a:lnTo>
                  <a:lnTo>
                    <a:pt x="42" y="21"/>
                  </a:lnTo>
                  <a:lnTo>
                    <a:pt x="51" y="21"/>
                  </a:lnTo>
                  <a:lnTo>
                    <a:pt x="56" y="17"/>
                  </a:lnTo>
                  <a:lnTo>
                    <a:pt x="65" y="17"/>
                  </a:lnTo>
                  <a:lnTo>
                    <a:pt x="75" y="5"/>
                  </a:lnTo>
                  <a:lnTo>
                    <a:pt x="70" y="0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Freeform 132">
              <a:extLst>
                <a:ext uri="{FF2B5EF4-FFF2-40B4-BE49-F238E27FC236}">
                  <a16:creationId xmlns:a16="http://schemas.microsoft.com/office/drawing/2014/main" id="{2EE34AEF-BF13-1946-F66C-F7347E8B4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072" y="1159692"/>
              <a:ext cx="827939" cy="776958"/>
            </a:xfrm>
            <a:custGeom>
              <a:avLst/>
              <a:gdLst>
                <a:gd name="T0" fmla="*/ 0 w 208"/>
                <a:gd name="T1" fmla="*/ 7065454 h 201"/>
                <a:gd name="T2" fmla="*/ 4999075 w 208"/>
                <a:gd name="T3" fmla="*/ 5636259 h 201"/>
                <a:gd name="T4" fmla="*/ 8267031 w 208"/>
                <a:gd name="T5" fmla="*/ 4204649 h 201"/>
                <a:gd name="T6" fmla="*/ 15802759 w 208"/>
                <a:gd name="T7" fmla="*/ 1431609 h 201"/>
                <a:gd name="T8" fmla="*/ 23996065 w 208"/>
                <a:gd name="T9" fmla="*/ 0 h 201"/>
                <a:gd name="T10" fmla="*/ 25815218 w 208"/>
                <a:gd name="T11" fmla="*/ 4204649 h 201"/>
                <a:gd name="T12" fmla="*/ 30535695 w 208"/>
                <a:gd name="T13" fmla="*/ 5636259 h 201"/>
                <a:gd name="T14" fmla="*/ 34082855 w 208"/>
                <a:gd name="T15" fmla="*/ 13700044 h 201"/>
                <a:gd name="T16" fmla="*/ 37350819 w 208"/>
                <a:gd name="T17" fmla="*/ 19322106 h 201"/>
                <a:gd name="T18" fmla="*/ 40533753 w 208"/>
                <a:gd name="T19" fmla="*/ 22891316 h 201"/>
                <a:gd name="T20" fmla="*/ 38729144 w 208"/>
                <a:gd name="T21" fmla="*/ 24320506 h 201"/>
                <a:gd name="T22" fmla="*/ 45547227 w 208"/>
                <a:gd name="T23" fmla="*/ 21114343 h 201"/>
                <a:gd name="T24" fmla="*/ 47348966 w 208"/>
                <a:gd name="T25" fmla="*/ 22891316 h 201"/>
                <a:gd name="T26" fmla="*/ 45547227 w 208"/>
                <a:gd name="T27" fmla="*/ 24320506 h 201"/>
                <a:gd name="T28" fmla="*/ 48800766 w 208"/>
                <a:gd name="T29" fmla="*/ 24320506 h 201"/>
                <a:gd name="T30" fmla="*/ 50617504 w 208"/>
                <a:gd name="T31" fmla="*/ 26027417 h 201"/>
                <a:gd name="T32" fmla="*/ 52362371 w 208"/>
                <a:gd name="T33" fmla="*/ 26027417 h 201"/>
                <a:gd name="T34" fmla="*/ 55615989 w 208"/>
                <a:gd name="T35" fmla="*/ 24320506 h 201"/>
                <a:gd name="T36" fmla="*/ 53814883 w 208"/>
                <a:gd name="T37" fmla="*/ 29233461 h 201"/>
                <a:gd name="T38" fmla="*/ 57435656 w 208"/>
                <a:gd name="T39" fmla="*/ 26027417 h 201"/>
                <a:gd name="T40" fmla="*/ 62434695 w 208"/>
                <a:gd name="T41" fmla="*/ 22891316 h 201"/>
                <a:gd name="T42" fmla="*/ 67080866 w 208"/>
                <a:gd name="T43" fmla="*/ 16906819 h 201"/>
                <a:gd name="T44" fmla="*/ 67812881 w 208"/>
                <a:gd name="T45" fmla="*/ 16906819 h 201"/>
                <a:gd name="T46" fmla="*/ 73179035 w 208"/>
                <a:gd name="T47" fmla="*/ 21114343 h 201"/>
                <a:gd name="T48" fmla="*/ 74630993 w 208"/>
                <a:gd name="T49" fmla="*/ 26027417 h 201"/>
                <a:gd name="T50" fmla="*/ 71362336 w 208"/>
                <a:gd name="T51" fmla="*/ 33092745 h 201"/>
                <a:gd name="T52" fmla="*/ 67080866 w 208"/>
                <a:gd name="T53" fmla="*/ 39798011 h 201"/>
                <a:gd name="T54" fmla="*/ 63533746 w 208"/>
                <a:gd name="T55" fmla="*/ 45071235 h 201"/>
                <a:gd name="T56" fmla="*/ 58813249 w 208"/>
                <a:gd name="T57" fmla="*/ 52066560 h 201"/>
                <a:gd name="T58" fmla="*/ 57435656 w 208"/>
                <a:gd name="T59" fmla="*/ 55275585 h 201"/>
                <a:gd name="T60" fmla="*/ 57435656 w 208"/>
                <a:gd name="T61" fmla="*/ 58411726 h 201"/>
                <a:gd name="T62" fmla="*/ 53814883 w 208"/>
                <a:gd name="T63" fmla="*/ 65822408 h 201"/>
                <a:gd name="T64" fmla="*/ 12181887 w 208"/>
                <a:gd name="T65" fmla="*/ 69321630 h 201"/>
                <a:gd name="T66" fmla="*/ 9719582 w 208"/>
                <a:gd name="T67" fmla="*/ 65822408 h 201"/>
                <a:gd name="T68" fmla="*/ 7899925 w 208"/>
                <a:gd name="T69" fmla="*/ 60189152 h 201"/>
                <a:gd name="T70" fmla="*/ 2903883 w 208"/>
                <a:gd name="T71" fmla="*/ 53844026 h 201"/>
                <a:gd name="T72" fmla="*/ 13633825 w 208"/>
                <a:gd name="T73" fmla="*/ 27816747 h 201"/>
                <a:gd name="T74" fmla="*/ 10086668 w 208"/>
                <a:gd name="T75" fmla="*/ 24609973 h 201"/>
                <a:gd name="T76" fmla="*/ 4999075 w 208"/>
                <a:gd name="T77" fmla="*/ 22891316 h 2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8"/>
                <a:gd name="T118" fmla="*/ 0 h 201"/>
                <a:gd name="T119" fmla="*/ 208 w 208"/>
                <a:gd name="T120" fmla="*/ 201 h 2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8" h="201">
                  <a:moveTo>
                    <a:pt x="0" y="48"/>
                  </a:moveTo>
                  <a:lnTo>
                    <a:pt x="0" y="20"/>
                  </a:lnTo>
                  <a:lnTo>
                    <a:pt x="9" y="16"/>
                  </a:lnTo>
                  <a:lnTo>
                    <a:pt x="14" y="16"/>
                  </a:lnTo>
                  <a:lnTo>
                    <a:pt x="18" y="16"/>
                  </a:lnTo>
                  <a:lnTo>
                    <a:pt x="23" y="12"/>
                  </a:lnTo>
                  <a:cubicBezTo>
                    <a:pt x="31" y="12"/>
                    <a:pt x="40" y="12"/>
                    <a:pt x="49" y="12"/>
                  </a:cubicBezTo>
                  <a:lnTo>
                    <a:pt x="44" y="4"/>
                  </a:lnTo>
                  <a:lnTo>
                    <a:pt x="44" y="0"/>
                  </a:lnTo>
                  <a:lnTo>
                    <a:pt x="67" y="0"/>
                  </a:lnTo>
                  <a:lnTo>
                    <a:pt x="67" y="11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5" y="16"/>
                  </a:lnTo>
                  <a:lnTo>
                    <a:pt x="95" y="25"/>
                  </a:lnTo>
                  <a:lnTo>
                    <a:pt x="95" y="39"/>
                  </a:lnTo>
                  <a:lnTo>
                    <a:pt x="100" y="44"/>
                  </a:lnTo>
                  <a:lnTo>
                    <a:pt x="104" y="55"/>
                  </a:lnTo>
                  <a:lnTo>
                    <a:pt x="113" y="60"/>
                  </a:lnTo>
                  <a:lnTo>
                    <a:pt x="113" y="65"/>
                  </a:lnTo>
                  <a:lnTo>
                    <a:pt x="100" y="65"/>
                  </a:lnTo>
                  <a:lnTo>
                    <a:pt x="108" y="69"/>
                  </a:lnTo>
                  <a:lnTo>
                    <a:pt x="122" y="60"/>
                  </a:lnTo>
                  <a:lnTo>
                    <a:pt x="127" y="60"/>
                  </a:lnTo>
                  <a:lnTo>
                    <a:pt x="132" y="60"/>
                  </a:lnTo>
                  <a:lnTo>
                    <a:pt x="132" y="65"/>
                  </a:lnTo>
                  <a:lnTo>
                    <a:pt x="132" y="69"/>
                  </a:lnTo>
                  <a:lnTo>
                    <a:pt x="127" y="69"/>
                  </a:lnTo>
                  <a:lnTo>
                    <a:pt x="132" y="74"/>
                  </a:lnTo>
                  <a:lnTo>
                    <a:pt x="136" y="69"/>
                  </a:lnTo>
                  <a:lnTo>
                    <a:pt x="136" y="74"/>
                  </a:lnTo>
                  <a:lnTo>
                    <a:pt x="141" y="74"/>
                  </a:lnTo>
                  <a:lnTo>
                    <a:pt x="146" y="69"/>
                  </a:lnTo>
                  <a:lnTo>
                    <a:pt x="146" y="74"/>
                  </a:lnTo>
                  <a:lnTo>
                    <a:pt x="150" y="74"/>
                  </a:lnTo>
                  <a:lnTo>
                    <a:pt x="155" y="69"/>
                  </a:lnTo>
                  <a:lnTo>
                    <a:pt x="155" y="74"/>
                  </a:lnTo>
                  <a:lnTo>
                    <a:pt x="150" y="83"/>
                  </a:lnTo>
                  <a:lnTo>
                    <a:pt x="155" y="83"/>
                  </a:lnTo>
                  <a:lnTo>
                    <a:pt x="160" y="74"/>
                  </a:lnTo>
                  <a:lnTo>
                    <a:pt x="169" y="65"/>
                  </a:lnTo>
                  <a:lnTo>
                    <a:pt x="174" y="65"/>
                  </a:lnTo>
                  <a:lnTo>
                    <a:pt x="178" y="55"/>
                  </a:lnTo>
                  <a:lnTo>
                    <a:pt x="187" y="48"/>
                  </a:lnTo>
                  <a:lnTo>
                    <a:pt x="187" y="55"/>
                  </a:lnTo>
                  <a:lnTo>
                    <a:pt x="189" y="48"/>
                  </a:lnTo>
                  <a:lnTo>
                    <a:pt x="199" y="55"/>
                  </a:lnTo>
                  <a:lnTo>
                    <a:pt x="204" y="60"/>
                  </a:lnTo>
                  <a:lnTo>
                    <a:pt x="208" y="60"/>
                  </a:lnTo>
                  <a:lnTo>
                    <a:pt x="208" y="74"/>
                  </a:lnTo>
                  <a:lnTo>
                    <a:pt x="199" y="83"/>
                  </a:lnTo>
                  <a:lnTo>
                    <a:pt x="199" y="94"/>
                  </a:lnTo>
                  <a:lnTo>
                    <a:pt x="194" y="99"/>
                  </a:lnTo>
                  <a:lnTo>
                    <a:pt x="187" y="113"/>
                  </a:lnTo>
                  <a:lnTo>
                    <a:pt x="172" y="123"/>
                  </a:lnTo>
                  <a:lnTo>
                    <a:pt x="177" y="128"/>
                  </a:lnTo>
                  <a:lnTo>
                    <a:pt x="173" y="143"/>
                  </a:lnTo>
                  <a:lnTo>
                    <a:pt x="164" y="148"/>
                  </a:lnTo>
                  <a:lnTo>
                    <a:pt x="160" y="153"/>
                  </a:lnTo>
                  <a:lnTo>
                    <a:pt x="160" y="157"/>
                  </a:lnTo>
                  <a:lnTo>
                    <a:pt x="155" y="162"/>
                  </a:lnTo>
                  <a:lnTo>
                    <a:pt x="160" y="166"/>
                  </a:lnTo>
                  <a:lnTo>
                    <a:pt x="155" y="178"/>
                  </a:lnTo>
                  <a:lnTo>
                    <a:pt x="150" y="187"/>
                  </a:lnTo>
                  <a:lnTo>
                    <a:pt x="141" y="201"/>
                  </a:lnTo>
                  <a:lnTo>
                    <a:pt x="34" y="197"/>
                  </a:lnTo>
                  <a:lnTo>
                    <a:pt x="29" y="192"/>
                  </a:lnTo>
                  <a:lnTo>
                    <a:pt x="27" y="187"/>
                  </a:lnTo>
                  <a:lnTo>
                    <a:pt x="22" y="183"/>
                  </a:lnTo>
                  <a:lnTo>
                    <a:pt x="22" y="171"/>
                  </a:lnTo>
                  <a:lnTo>
                    <a:pt x="14" y="162"/>
                  </a:lnTo>
                  <a:lnTo>
                    <a:pt x="8" y="153"/>
                  </a:lnTo>
                  <a:lnTo>
                    <a:pt x="21" y="122"/>
                  </a:lnTo>
                  <a:lnTo>
                    <a:pt x="38" y="79"/>
                  </a:lnTo>
                  <a:lnTo>
                    <a:pt x="34" y="74"/>
                  </a:lnTo>
                  <a:lnTo>
                    <a:pt x="28" y="70"/>
                  </a:lnTo>
                  <a:lnTo>
                    <a:pt x="23" y="71"/>
                  </a:lnTo>
                  <a:lnTo>
                    <a:pt x="14" y="65"/>
                  </a:lnTo>
                  <a:lnTo>
                    <a:pt x="0" y="48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Freeform 133">
              <a:extLst>
                <a:ext uri="{FF2B5EF4-FFF2-40B4-BE49-F238E27FC236}">
                  <a16:creationId xmlns:a16="http://schemas.microsoft.com/office/drawing/2014/main" id="{478AAA02-1290-046B-9B7E-DE22C8ED8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006" y="1050824"/>
              <a:ext cx="312992" cy="341485"/>
            </a:xfrm>
            <a:custGeom>
              <a:avLst/>
              <a:gdLst>
                <a:gd name="T0" fmla="*/ 17617651 w 79"/>
                <a:gd name="T1" fmla="*/ 0 h 88"/>
                <a:gd name="T2" fmla="*/ 20712233 w 79"/>
                <a:gd name="T3" fmla="*/ 1463107 h 88"/>
                <a:gd name="T4" fmla="*/ 22463560 w 79"/>
                <a:gd name="T5" fmla="*/ 9822049 h 88"/>
                <a:gd name="T6" fmla="*/ 22463560 w 79"/>
                <a:gd name="T7" fmla="*/ 11655747 h 88"/>
                <a:gd name="T8" fmla="*/ 23861497 w 79"/>
                <a:gd name="T9" fmla="*/ 11655747 h 88"/>
                <a:gd name="T10" fmla="*/ 23861497 w 79"/>
                <a:gd name="T11" fmla="*/ 14509475 h 88"/>
                <a:gd name="T12" fmla="*/ 27297656 w 79"/>
                <a:gd name="T13" fmla="*/ 15975624 h 88"/>
                <a:gd name="T14" fmla="*/ 27297656 w 79"/>
                <a:gd name="T15" fmla="*/ 17808706 h 88"/>
                <a:gd name="T16" fmla="*/ 25543473 w 79"/>
                <a:gd name="T17" fmla="*/ 21033019 h 88"/>
                <a:gd name="T18" fmla="*/ 23861497 w 79"/>
                <a:gd name="T19" fmla="*/ 22498553 h 88"/>
                <a:gd name="T20" fmla="*/ 20712233 w 79"/>
                <a:gd name="T21" fmla="*/ 24332250 h 88"/>
                <a:gd name="T22" fmla="*/ 20712233 w 79"/>
                <a:gd name="T23" fmla="*/ 25797665 h 88"/>
                <a:gd name="T24" fmla="*/ 19371843 w 79"/>
                <a:gd name="T25" fmla="*/ 27630767 h 88"/>
                <a:gd name="T26" fmla="*/ 17617651 w 79"/>
                <a:gd name="T27" fmla="*/ 28001347 h 88"/>
                <a:gd name="T28" fmla="*/ 17261376 w 79"/>
                <a:gd name="T29" fmla="*/ 30115134 h 88"/>
                <a:gd name="T30" fmla="*/ 15935694 w 79"/>
                <a:gd name="T31" fmla="*/ 31951268 h 88"/>
                <a:gd name="T32" fmla="*/ 12771727 w 79"/>
                <a:gd name="T33" fmla="*/ 30115134 h 88"/>
                <a:gd name="T34" fmla="*/ 11373799 w 79"/>
                <a:gd name="T35" fmla="*/ 26535199 h 88"/>
                <a:gd name="T36" fmla="*/ 9691840 w 79"/>
                <a:gd name="T37" fmla="*/ 24332250 h 88"/>
                <a:gd name="T38" fmla="*/ 9335566 w 79"/>
                <a:gd name="T39" fmla="*/ 19274736 h 88"/>
                <a:gd name="T40" fmla="*/ 6243849 w 79"/>
                <a:gd name="T41" fmla="*/ 15975624 h 88"/>
                <a:gd name="T42" fmla="*/ 3094574 w 79"/>
                <a:gd name="T43" fmla="*/ 15975624 h 88"/>
                <a:gd name="T44" fmla="*/ 1754193 w 79"/>
                <a:gd name="T45" fmla="*/ 14509475 h 88"/>
                <a:gd name="T46" fmla="*/ 0 w 79"/>
                <a:gd name="T47" fmla="*/ 14142542 h 88"/>
                <a:gd name="T48" fmla="*/ 0 w 79"/>
                <a:gd name="T49" fmla="*/ 10192643 h 88"/>
                <a:gd name="T50" fmla="*/ 1754193 w 79"/>
                <a:gd name="T51" fmla="*/ 10192643 h 88"/>
                <a:gd name="T52" fmla="*/ 3094574 w 79"/>
                <a:gd name="T53" fmla="*/ 11655747 h 88"/>
                <a:gd name="T54" fmla="*/ 4845910 w 79"/>
                <a:gd name="T55" fmla="*/ 11655747 h 88"/>
                <a:gd name="T56" fmla="*/ 4845910 w 79"/>
                <a:gd name="T57" fmla="*/ 10192643 h 88"/>
                <a:gd name="T58" fmla="*/ 6243849 w 79"/>
                <a:gd name="T59" fmla="*/ 11655747 h 88"/>
                <a:gd name="T60" fmla="*/ 8282065 w 79"/>
                <a:gd name="T61" fmla="*/ 10192643 h 88"/>
                <a:gd name="T62" fmla="*/ 9691840 w 79"/>
                <a:gd name="T63" fmla="*/ 11655747 h 88"/>
                <a:gd name="T64" fmla="*/ 11373799 w 79"/>
                <a:gd name="T65" fmla="*/ 11655747 h 88"/>
                <a:gd name="T66" fmla="*/ 12771727 w 79"/>
                <a:gd name="T67" fmla="*/ 10192643 h 88"/>
                <a:gd name="T68" fmla="*/ 15935694 w 79"/>
                <a:gd name="T69" fmla="*/ 3299113 h 88"/>
                <a:gd name="T70" fmla="*/ 17617651 w 79"/>
                <a:gd name="T71" fmla="*/ 1463107 h 88"/>
                <a:gd name="T72" fmla="*/ 17617651 w 79"/>
                <a:gd name="T73" fmla="*/ 0 h 8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9"/>
                <a:gd name="T112" fmla="*/ 0 h 88"/>
                <a:gd name="T113" fmla="*/ 79 w 79"/>
                <a:gd name="T114" fmla="*/ 88 h 8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9" h="88">
                  <a:moveTo>
                    <a:pt x="51" y="0"/>
                  </a:moveTo>
                  <a:lnTo>
                    <a:pt x="60" y="4"/>
                  </a:lnTo>
                  <a:lnTo>
                    <a:pt x="65" y="27"/>
                  </a:lnTo>
                  <a:lnTo>
                    <a:pt x="65" y="32"/>
                  </a:lnTo>
                  <a:lnTo>
                    <a:pt x="69" y="32"/>
                  </a:lnTo>
                  <a:lnTo>
                    <a:pt x="69" y="40"/>
                  </a:lnTo>
                  <a:lnTo>
                    <a:pt x="79" y="44"/>
                  </a:lnTo>
                  <a:lnTo>
                    <a:pt x="79" y="49"/>
                  </a:lnTo>
                  <a:lnTo>
                    <a:pt x="74" y="58"/>
                  </a:lnTo>
                  <a:lnTo>
                    <a:pt x="69" y="62"/>
                  </a:lnTo>
                  <a:lnTo>
                    <a:pt x="60" y="67"/>
                  </a:lnTo>
                  <a:lnTo>
                    <a:pt x="60" y="71"/>
                  </a:lnTo>
                  <a:lnTo>
                    <a:pt x="56" y="76"/>
                  </a:lnTo>
                  <a:lnTo>
                    <a:pt x="51" y="77"/>
                  </a:lnTo>
                  <a:lnTo>
                    <a:pt x="50" y="83"/>
                  </a:lnTo>
                  <a:lnTo>
                    <a:pt x="46" y="88"/>
                  </a:lnTo>
                  <a:lnTo>
                    <a:pt x="37" y="83"/>
                  </a:lnTo>
                  <a:lnTo>
                    <a:pt x="33" y="73"/>
                  </a:lnTo>
                  <a:lnTo>
                    <a:pt x="28" y="67"/>
                  </a:lnTo>
                  <a:lnTo>
                    <a:pt x="27" y="53"/>
                  </a:lnTo>
                  <a:lnTo>
                    <a:pt x="18" y="44"/>
                  </a:lnTo>
                  <a:lnTo>
                    <a:pt x="9" y="44"/>
                  </a:lnTo>
                  <a:lnTo>
                    <a:pt x="5" y="40"/>
                  </a:lnTo>
                  <a:lnTo>
                    <a:pt x="0" y="39"/>
                  </a:lnTo>
                  <a:lnTo>
                    <a:pt x="0" y="28"/>
                  </a:lnTo>
                  <a:lnTo>
                    <a:pt x="5" y="28"/>
                  </a:lnTo>
                  <a:lnTo>
                    <a:pt x="9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8" y="32"/>
                  </a:lnTo>
                  <a:lnTo>
                    <a:pt x="24" y="28"/>
                  </a:lnTo>
                  <a:lnTo>
                    <a:pt x="28" y="32"/>
                  </a:lnTo>
                  <a:lnTo>
                    <a:pt x="33" y="32"/>
                  </a:lnTo>
                  <a:lnTo>
                    <a:pt x="37" y="28"/>
                  </a:lnTo>
                  <a:lnTo>
                    <a:pt x="46" y="9"/>
                  </a:lnTo>
                  <a:lnTo>
                    <a:pt x="51" y="4"/>
                  </a:lnTo>
                  <a:lnTo>
                    <a:pt x="51" y="0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7" name="Freeform 134">
              <a:extLst>
                <a:ext uri="{FF2B5EF4-FFF2-40B4-BE49-F238E27FC236}">
                  <a16:creationId xmlns:a16="http://schemas.microsoft.com/office/drawing/2014/main" id="{B5E2A111-7D37-C5EC-B023-74DA283A7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9545" y="1178489"/>
              <a:ext cx="1116793" cy="777741"/>
            </a:xfrm>
            <a:custGeom>
              <a:avLst/>
              <a:gdLst>
                <a:gd name="T0" fmla="*/ 1437642 w 281"/>
                <a:gd name="T1" fmla="*/ 55740166 h 201"/>
                <a:gd name="T2" fmla="*/ 2875896 w 281"/>
                <a:gd name="T3" fmla="*/ 52497315 h 201"/>
                <a:gd name="T4" fmla="*/ 4225462 w 281"/>
                <a:gd name="T5" fmla="*/ 47903353 h 201"/>
                <a:gd name="T6" fmla="*/ 14205492 w 281"/>
                <a:gd name="T7" fmla="*/ 41870973 h 201"/>
                <a:gd name="T8" fmla="*/ 20871668 w 281"/>
                <a:gd name="T9" fmla="*/ 40081509 h 201"/>
                <a:gd name="T10" fmla="*/ 24458851 w 281"/>
                <a:gd name="T11" fmla="*/ 23056969 h 201"/>
                <a:gd name="T12" fmla="*/ 22309319 w 281"/>
                <a:gd name="T13" fmla="*/ 19887991 h 201"/>
                <a:gd name="T14" fmla="*/ 19521500 w 281"/>
                <a:gd name="T15" fmla="*/ 12065524 h 201"/>
                <a:gd name="T16" fmla="*/ 24823169 w 281"/>
                <a:gd name="T17" fmla="*/ 12065524 h 201"/>
                <a:gd name="T18" fmla="*/ 21235986 w 281"/>
                <a:gd name="T19" fmla="*/ 9187749 h 201"/>
                <a:gd name="T20" fmla="*/ 30851216 w 281"/>
                <a:gd name="T21" fmla="*/ 5670910 h 201"/>
                <a:gd name="T22" fmla="*/ 31213123 w 281"/>
                <a:gd name="T23" fmla="*/ 4593924 h 201"/>
                <a:gd name="T24" fmla="*/ 35802768 w 281"/>
                <a:gd name="T25" fmla="*/ 2516168 h 201"/>
                <a:gd name="T26" fmla="*/ 37588120 w 281"/>
                <a:gd name="T27" fmla="*/ 7471604 h 201"/>
                <a:gd name="T28" fmla="*/ 41466487 w 281"/>
                <a:gd name="T29" fmla="*/ 10626347 h 201"/>
                <a:gd name="T30" fmla="*/ 44982936 w 281"/>
                <a:gd name="T31" fmla="*/ 8910782 h 201"/>
                <a:gd name="T32" fmla="*/ 46056151 w 281"/>
                <a:gd name="T33" fmla="*/ 10991435 h 201"/>
                <a:gd name="T34" fmla="*/ 48570752 w 281"/>
                <a:gd name="T35" fmla="*/ 7471604 h 201"/>
                <a:gd name="T36" fmla="*/ 58112047 w 281"/>
                <a:gd name="T37" fmla="*/ 0 h 201"/>
                <a:gd name="T38" fmla="*/ 64502021 w 281"/>
                <a:gd name="T39" fmla="*/ 13854870 h 201"/>
                <a:gd name="T40" fmla="*/ 63428727 w 281"/>
                <a:gd name="T41" fmla="*/ 18463140 h 201"/>
                <a:gd name="T42" fmla="*/ 69441758 w 281"/>
                <a:gd name="T43" fmla="*/ 21256270 h 201"/>
                <a:gd name="T44" fmla="*/ 72679620 w 281"/>
                <a:gd name="T45" fmla="*/ 15585367 h 201"/>
                <a:gd name="T46" fmla="*/ 77981244 w 281"/>
                <a:gd name="T47" fmla="*/ 13854870 h 201"/>
                <a:gd name="T48" fmla="*/ 79345060 w 281"/>
                <a:gd name="T49" fmla="*/ 12065524 h 201"/>
                <a:gd name="T50" fmla="*/ 86085007 w 281"/>
                <a:gd name="T51" fmla="*/ 10626347 h 201"/>
                <a:gd name="T52" fmla="*/ 91039681 w 281"/>
                <a:gd name="T53" fmla="*/ 21256270 h 201"/>
                <a:gd name="T54" fmla="*/ 96426422 w 281"/>
                <a:gd name="T55" fmla="*/ 23422175 h 201"/>
                <a:gd name="T56" fmla="*/ 99578534 w 281"/>
                <a:gd name="T57" fmla="*/ 26650126 h 201"/>
                <a:gd name="T58" fmla="*/ 90748527 w 281"/>
                <a:gd name="T59" fmla="*/ 55740166 h 201"/>
                <a:gd name="T60" fmla="*/ 88960823 w 281"/>
                <a:gd name="T61" fmla="*/ 62776216 h 201"/>
                <a:gd name="T62" fmla="*/ 65925348 w 281"/>
                <a:gd name="T63" fmla="*/ 63141442 h 201"/>
                <a:gd name="T64" fmla="*/ 57747749 w 281"/>
                <a:gd name="T65" fmla="*/ 59260029 h 201"/>
                <a:gd name="T66" fmla="*/ 56674455 w 281"/>
                <a:gd name="T67" fmla="*/ 62414744 h 201"/>
                <a:gd name="T68" fmla="*/ 54233710 w 281"/>
                <a:gd name="T69" fmla="*/ 64927893 h 201"/>
                <a:gd name="T70" fmla="*/ 47132488 w 281"/>
                <a:gd name="T71" fmla="*/ 68809385 h 201"/>
                <a:gd name="T72" fmla="*/ 43269049 w 281"/>
                <a:gd name="T73" fmla="*/ 68447163 h 201"/>
                <a:gd name="T74" fmla="*/ 19868589 w 281"/>
                <a:gd name="T75" fmla="*/ 63141442 h 2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1"/>
                <a:gd name="T115" fmla="*/ 0 h 201"/>
                <a:gd name="T116" fmla="*/ 281 w 281"/>
                <a:gd name="T117" fmla="*/ 201 h 20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1" h="201">
                  <a:moveTo>
                    <a:pt x="0" y="161"/>
                  </a:moveTo>
                  <a:lnTo>
                    <a:pt x="4" y="157"/>
                  </a:lnTo>
                  <a:lnTo>
                    <a:pt x="9" y="154"/>
                  </a:lnTo>
                  <a:lnTo>
                    <a:pt x="8" y="148"/>
                  </a:lnTo>
                  <a:lnTo>
                    <a:pt x="12" y="140"/>
                  </a:lnTo>
                  <a:lnTo>
                    <a:pt x="12" y="135"/>
                  </a:lnTo>
                  <a:lnTo>
                    <a:pt x="25" y="117"/>
                  </a:lnTo>
                  <a:lnTo>
                    <a:pt x="40" y="118"/>
                  </a:lnTo>
                  <a:lnTo>
                    <a:pt x="45" y="114"/>
                  </a:lnTo>
                  <a:lnTo>
                    <a:pt x="59" y="113"/>
                  </a:lnTo>
                  <a:lnTo>
                    <a:pt x="59" y="110"/>
                  </a:lnTo>
                  <a:lnTo>
                    <a:pt x="69" y="65"/>
                  </a:lnTo>
                  <a:lnTo>
                    <a:pt x="64" y="61"/>
                  </a:lnTo>
                  <a:lnTo>
                    <a:pt x="63" y="56"/>
                  </a:lnTo>
                  <a:lnTo>
                    <a:pt x="55" y="45"/>
                  </a:lnTo>
                  <a:lnTo>
                    <a:pt x="55" y="34"/>
                  </a:lnTo>
                  <a:lnTo>
                    <a:pt x="65" y="30"/>
                  </a:lnTo>
                  <a:lnTo>
                    <a:pt x="70" y="34"/>
                  </a:lnTo>
                  <a:lnTo>
                    <a:pt x="69" y="26"/>
                  </a:lnTo>
                  <a:lnTo>
                    <a:pt x="60" y="26"/>
                  </a:lnTo>
                  <a:lnTo>
                    <a:pt x="59" y="16"/>
                  </a:lnTo>
                  <a:lnTo>
                    <a:pt x="87" y="16"/>
                  </a:lnTo>
                  <a:lnTo>
                    <a:pt x="85" y="12"/>
                  </a:lnTo>
                  <a:lnTo>
                    <a:pt x="88" y="13"/>
                  </a:lnTo>
                  <a:lnTo>
                    <a:pt x="92" y="15"/>
                  </a:lnTo>
                  <a:lnTo>
                    <a:pt x="101" y="7"/>
                  </a:lnTo>
                  <a:lnTo>
                    <a:pt x="102" y="14"/>
                  </a:lnTo>
                  <a:lnTo>
                    <a:pt x="106" y="21"/>
                  </a:lnTo>
                  <a:lnTo>
                    <a:pt x="111" y="22"/>
                  </a:lnTo>
                  <a:lnTo>
                    <a:pt x="117" y="30"/>
                  </a:lnTo>
                  <a:lnTo>
                    <a:pt x="122" y="27"/>
                  </a:lnTo>
                  <a:lnTo>
                    <a:pt x="127" y="25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45" y="21"/>
                  </a:lnTo>
                  <a:lnTo>
                    <a:pt x="164" y="0"/>
                  </a:lnTo>
                  <a:lnTo>
                    <a:pt x="173" y="7"/>
                  </a:lnTo>
                  <a:lnTo>
                    <a:pt x="182" y="39"/>
                  </a:lnTo>
                  <a:lnTo>
                    <a:pt x="182" y="51"/>
                  </a:lnTo>
                  <a:lnTo>
                    <a:pt x="179" y="52"/>
                  </a:lnTo>
                  <a:lnTo>
                    <a:pt x="192" y="60"/>
                  </a:lnTo>
                  <a:lnTo>
                    <a:pt x="196" y="60"/>
                  </a:lnTo>
                  <a:lnTo>
                    <a:pt x="196" y="51"/>
                  </a:lnTo>
                  <a:lnTo>
                    <a:pt x="205" y="44"/>
                  </a:lnTo>
                  <a:lnTo>
                    <a:pt x="210" y="51"/>
                  </a:lnTo>
                  <a:lnTo>
                    <a:pt x="220" y="39"/>
                  </a:lnTo>
                  <a:lnTo>
                    <a:pt x="224" y="39"/>
                  </a:lnTo>
                  <a:lnTo>
                    <a:pt x="224" y="34"/>
                  </a:lnTo>
                  <a:lnTo>
                    <a:pt x="229" y="30"/>
                  </a:lnTo>
                  <a:lnTo>
                    <a:pt x="243" y="30"/>
                  </a:lnTo>
                  <a:lnTo>
                    <a:pt x="243" y="43"/>
                  </a:lnTo>
                  <a:lnTo>
                    <a:pt x="257" y="60"/>
                  </a:lnTo>
                  <a:lnTo>
                    <a:pt x="266" y="66"/>
                  </a:lnTo>
                  <a:lnTo>
                    <a:pt x="272" y="66"/>
                  </a:lnTo>
                  <a:lnTo>
                    <a:pt x="279" y="70"/>
                  </a:lnTo>
                  <a:lnTo>
                    <a:pt x="281" y="75"/>
                  </a:lnTo>
                  <a:lnTo>
                    <a:pt x="251" y="148"/>
                  </a:lnTo>
                  <a:lnTo>
                    <a:pt x="256" y="157"/>
                  </a:lnTo>
                  <a:lnTo>
                    <a:pt x="251" y="161"/>
                  </a:lnTo>
                  <a:lnTo>
                    <a:pt x="251" y="177"/>
                  </a:lnTo>
                  <a:lnTo>
                    <a:pt x="201" y="183"/>
                  </a:lnTo>
                  <a:lnTo>
                    <a:pt x="186" y="178"/>
                  </a:lnTo>
                  <a:lnTo>
                    <a:pt x="178" y="167"/>
                  </a:lnTo>
                  <a:lnTo>
                    <a:pt x="163" y="167"/>
                  </a:lnTo>
                  <a:lnTo>
                    <a:pt x="164" y="173"/>
                  </a:lnTo>
                  <a:lnTo>
                    <a:pt x="160" y="176"/>
                  </a:lnTo>
                  <a:lnTo>
                    <a:pt x="159" y="183"/>
                  </a:lnTo>
                  <a:lnTo>
                    <a:pt x="153" y="183"/>
                  </a:lnTo>
                  <a:lnTo>
                    <a:pt x="140" y="191"/>
                  </a:lnTo>
                  <a:lnTo>
                    <a:pt x="133" y="194"/>
                  </a:lnTo>
                  <a:lnTo>
                    <a:pt x="127" y="193"/>
                  </a:lnTo>
                  <a:lnTo>
                    <a:pt x="122" y="193"/>
                  </a:lnTo>
                  <a:lnTo>
                    <a:pt x="115" y="201"/>
                  </a:lnTo>
                  <a:lnTo>
                    <a:pt x="56" y="178"/>
                  </a:lnTo>
                  <a:lnTo>
                    <a:pt x="0" y="161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8" name="Freeform 135">
              <a:extLst>
                <a:ext uri="{FF2B5EF4-FFF2-40B4-BE49-F238E27FC236}">
                  <a16:creationId xmlns:a16="http://schemas.microsoft.com/office/drawing/2014/main" id="{E464F77A-3526-3BA5-1680-900BDA2E1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453" y="1715780"/>
              <a:ext cx="230922" cy="155078"/>
            </a:xfrm>
            <a:custGeom>
              <a:avLst/>
              <a:gdLst>
                <a:gd name="T0" fmla="*/ 0 w 58"/>
                <a:gd name="T1" fmla="*/ 3281058 h 40"/>
                <a:gd name="T2" fmla="*/ 3272310 w 58"/>
                <a:gd name="T3" fmla="*/ 3281058 h 40"/>
                <a:gd name="T4" fmla="*/ 5004894 w 58"/>
                <a:gd name="T5" fmla="*/ 1824530 h 40"/>
                <a:gd name="T6" fmla="*/ 7558972 w 58"/>
                <a:gd name="T7" fmla="*/ 0 h 40"/>
                <a:gd name="T8" fmla="*/ 7558972 w 58"/>
                <a:gd name="T9" fmla="*/ 1824530 h 40"/>
                <a:gd name="T10" fmla="*/ 5740585 w 58"/>
                <a:gd name="T11" fmla="*/ 3281058 h 40"/>
                <a:gd name="T12" fmla="*/ 5740585 w 58"/>
                <a:gd name="T13" fmla="*/ 5031120 h 40"/>
                <a:gd name="T14" fmla="*/ 9012770 w 58"/>
                <a:gd name="T15" fmla="*/ 5031120 h 40"/>
                <a:gd name="T16" fmla="*/ 10745510 w 58"/>
                <a:gd name="T17" fmla="*/ 6487648 h 40"/>
                <a:gd name="T18" fmla="*/ 10745510 w 58"/>
                <a:gd name="T19" fmla="*/ 5031120 h 40"/>
                <a:gd name="T20" fmla="*/ 12198818 w 58"/>
                <a:gd name="T21" fmla="*/ 3281058 h 40"/>
                <a:gd name="T22" fmla="*/ 20478954 w 58"/>
                <a:gd name="T23" fmla="*/ 3634626 h 40"/>
                <a:gd name="T24" fmla="*/ 20847011 w 58"/>
                <a:gd name="T25" fmla="*/ 9031423 h 40"/>
                <a:gd name="T26" fmla="*/ 16924945 w 58"/>
                <a:gd name="T27" fmla="*/ 10122273 h 40"/>
                <a:gd name="T28" fmla="*/ 10466714 w 58"/>
                <a:gd name="T29" fmla="*/ 12591563 h 40"/>
                <a:gd name="T30" fmla="*/ 8647716 w 58"/>
                <a:gd name="T31" fmla="*/ 14416092 h 40"/>
                <a:gd name="T32" fmla="*/ 7194408 w 58"/>
                <a:gd name="T33" fmla="*/ 14416092 h 40"/>
                <a:gd name="T34" fmla="*/ 6826320 w 58"/>
                <a:gd name="T35" fmla="*/ 12591563 h 40"/>
                <a:gd name="T36" fmla="*/ 8647716 w 58"/>
                <a:gd name="T37" fmla="*/ 8665751 h 40"/>
                <a:gd name="T38" fmla="*/ 7194408 w 58"/>
                <a:gd name="T39" fmla="*/ 8665751 h 40"/>
                <a:gd name="T40" fmla="*/ 4286667 w 58"/>
                <a:gd name="T41" fmla="*/ 10122273 h 40"/>
                <a:gd name="T42" fmla="*/ 0 w 58"/>
                <a:gd name="T43" fmla="*/ 10122273 h 40"/>
                <a:gd name="T44" fmla="*/ 0 w 58"/>
                <a:gd name="T45" fmla="*/ 3281058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8"/>
                <a:gd name="T70" fmla="*/ 0 h 40"/>
                <a:gd name="T71" fmla="*/ 58 w 58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8" h="40">
                  <a:moveTo>
                    <a:pt x="0" y="9"/>
                  </a:moveTo>
                  <a:lnTo>
                    <a:pt x="9" y="9"/>
                  </a:lnTo>
                  <a:lnTo>
                    <a:pt x="14" y="5"/>
                  </a:lnTo>
                  <a:lnTo>
                    <a:pt x="21" y="0"/>
                  </a:lnTo>
                  <a:lnTo>
                    <a:pt x="21" y="5"/>
                  </a:lnTo>
                  <a:lnTo>
                    <a:pt x="16" y="9"/>
                  </a:lnTo>
                  <a:lnTo>
                    <a:pt x="16" y="14"/>
                  </a:lnTo>
                  <a:lnTo>
                    <a:pt x="25" y="14"/>
                  </a:lnTo>
                  <a:lnTo>
                    <a:pt x="30" y="18"/>
                  </a:lnTo>
                  <a:lnTo>
                    <a:pt x="30" y="14"/>
                  </a:lnTo>
                  <a:lnTo>
                    <a:pt x="34" y="9"/>
                  </a:lnTo>
                  <a:lnTo>
                    <a:pt x="57" y="10"/>
                  </a:lnTo>
                  <a:lnTo>
                    <a:pt x="58" y="25"/>
                  </a:lnTo>
                  <a:lnTo>
                    <a:pt x="47" y="28"/>
                  </a:lnTo>
                  <a:lnTo>
                    <a:pt x="29" y="35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19" y="35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12" y="28"/>
                  </a:lnTo>
                  <a:lnTo>
                    <a:pt x="0" y="28"/>
                  </a:lnTo>
                  <a:lnTo>
                    <a:pt x="0" y="9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Freeform 136">
              <a:extLst>
                <a:ext uri="{FF2B5EF4-FFF2-40B4-BE49-F238E27FC236}">
                  <a16:creationId xmlns:a16="http://schemas.microsoft.com/office/drawing/2014/main" id="{980D8003-A032-A63D-822F-34EFC75EC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8764" y="1944482"/>
              <a:ext cx="99771" cy="126882"/>
            </a:xfrm>
            <a:custGeom>
              <a:avLst/>
              <a:gdLst>
                <a:gd name="T0" fmla="*/ 1473810 w 25"/>
                <a:gd name="T1" fmla="*/ 11127524 h 33"/>
                <a:gd name="T2" fmla="*/ 3320403 w 25"/>
                <a:gd name="T3" fmla="*/ 11127524 h 33"/>
                <a:gd name="T4" fmla="*/ 4437047 w 25"/>
                <a:gd name="T5" fmla="*/ 8453119 h 33"/>
                <a:gd name="T6" fmla="*/ 9156075 w 25"/>
                <a:gd name="T7" fmla="*/ 7081854 h 33"/>
                <a:gd name="T8" fmla="*/ 7310098 w 25"/>
                <a:gd name="T9" fmla="*/ 3022350 h 33"/>
                <a:gd name="T10" fmla="*/ 1845983 w 25"/>
                <a:gd name="T11" fmla="*/ 0 h 33"/>
                <a:gd name="T12" fmla="*/ 1473810 w 25"/>
                <a:gd name="T13" fmla="*/ 6394861 h 33"/>
                <a:gd name="T14" fmla="*/ 0 w 25"/>
                <a:gd name="T15" fmla="*/ 6731090 h 33"/>
                <a:gd name="T16" fmla="*/ 1473810 w 25"/>
                <a:gd name="T17" fmla="*/ 9420028 h 33"/>
                <a:gd name="T18" fmla="*/ 1473810 w 25"/>
                <a:gd name="T19" fmla="*/ 11127524 h 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3"/>
                <a:gd name="T32" fmla="*/ 25 w 25"/>
                <a:gd name="T33" fmla="*/ 33 h 3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3">
                  <a:moveTo>
                    <a:pt x="4" y="33"/>
                  </a:moveTo>
                  <a:lnTo>
                    <a:pt x="9" y="33"/>
                  </a:lnTo>
                  <a:lnTo>
                    <a:pt x="12" y="25"/>
                  </a:lnTo>
                  <a:lnTo>
                    <a:pt x="25" y="21"/>
                  </a:lnTo>
                  <a:lnTo>
                    <a:pt x="20" y="9"/>
                  </a:lnTo>
                  <a:lnTo>
                    <a:pt x="5" y="0"/>
                  </a:lnTo>
                  <a:lnTo>
                    <a:pt x="4" y="19"/>
                  </a:lnTo>
                  <a:lnTo>
                    <a:pt x="0" y="20"/>
                  </a:lnTo>
                  <a:lnTo>
                    <a:pt x="4" y="28"/>
                  </a:lnTo>
                  <a:lnTo>
                    <a:pt x="4" y="33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Freeform 137">
              <a:extLst>
                <a:ext uri="{FF2B5EF4-FFF2-40B4-BE49-F238E27FC236}">
                  <a16:creationId xmlns:a16="http://schemas.microsoft.com/office/drawing/2014/main" id="{2FD2BF2D-520B-D63F-A768-40C049D66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8987" y="1392309"/>
              <a:ext cx="434487" cy="563921"/>
            </a:xfrm>
            <a:custGeom>
              <a:avLst/>
              <a:gdLst>
                <a:gd name="T0" fmla="*/ 13041497 w 109"/>
                <a:gd name="T1" fmla="*/ 0 h 146"/>
                <a:gd name="T2" fmla="*/ 14503499 w 109"/>
                <a:gd name="T3" fmla="*/ 1423608 h 146"/>
                <a:gd name="T4" fmla="*/ 17800827 w 109"/>
                <a:gd name="T5" fmla="*/ 1423608 h 146"/>
                <a:gd name="T6" fmla="*/ 17800827 w 109"/>
                <a:gd name="T7" fmla="*/ 2762068 h 146"/>
                <a:gd name="T8" fmla="*/ 19633310 w 109"/>
                <a:gd name="T9" fmla="*/ 1423608 h 146"/>
                <a:gd name="T10" fmla="*/ 22856569 w 109"/>
                <a:gd name="T11" fmla="*/ 4891359 h 146"/>
                <a:gd name="T12" fmla="*/ 21394071 w 109"/>
                <a:gd name="T13" fmla="*/ 6314967 h 146"/>
                <a:gd name="T14" fmla="*/ 22856569 w 109"/>
                <a:gd name="T15" fmla="*/ 6673320 h 146"/>
                <a:gd name="T16" fmla="*/ 22856569 w 109"/>
                <a:gd name="T17" fmla="*/ 7665149 h 146"/>
                <a:gd name="T18" fmla="*/ 21394071 w 109"/>
                <a:gd name="T19" fmla="*/ 9077009 h 146"/>
                <a:gd name="T20" fmla="*/ 22856569 w 109"/>
                <a:gd name="T21" fmla="*/ 9435357 h 146"/>
                <a:gd name="T22" fmla="*/ 21394071 w 109"/>
                <a:gd name="T23" fmla="*/ 11908869 h 146"/>
                <a:gd name="T24" fmla="*/ 22856569 w 109"/>
                <a:gd name="T25" fmla="*/ 11908869 h 146"/>
                <a:gd name="T26" fmla="*/ 24689080 w 109"/>
                <a:gd name="T27" fmla="*/ 9435357 h 146"/>
                <a:gd name="T28" fmla="*/ 26153996 w 109"/>
                <a:gd name="T29" fmla="*/ 9435357 h 146"/>
                <a:gd name="T30" fmla="*/ 26509405 w 109"/>
                <a:gd name="T31" fmla="*/ 8012361 h 146"/>
                <a:gd name="T32" fmla="*/ 29732184 w 109"/>
                <a:gd name="T33" fmla="*/ 7665149 h 146"/>
                <a:gd name="T34" fmla="*/ 29376775 w 109"/>
                <a:gd name="T35" fmla="*/ 6314967 h 146"/>
                <a:gd name="T36" fmla="*/ 34861984 w 109"/>
                <a:gd name="T37" fmla="*/ 9435357 h 146"/>
                <a:gd name="T38" fmla="*/ 39547360 w 109"/>
                <a:gd name="T39" fmla="*/ 9435357 h 146"/>
                <a:gd name="T40" fmla="*/ 36252865 w 109"/>
                <a:gd name="T41" fmla="*/ 13262685 h 146"/>
                <a:gd name="T42" fmla="*/ 34492129 w 109"/>
                <a:gd name="T43" fmla="*/ 13262685 h 146"/>
                <a:gd name="T44" fmla="*/ 33029611 w 109"/>
                <a:gd name="T45" fmla="*/ 16456496 h 146"/>
                <a:gd name="T46" fmla="*/ 32674796 w 109"/>
                <a:gd name="T47" fmla="*/ 23403728 h 146"/>
                <a:gd name="T48" fmla="*/ 31564557 w 109"/>
                <a:gd name="T49" fmla="*/ 24827316 h 146"/>
                <a:gd name="T50" fmla="*/ 31194800 w 109"/>
                <a:gd name="T51" fmla="*/ 28654045 h 146"/>
                <a:gd name="T52" fmla="*/ 32674796 w 109"/>
                <a:gd name="T53" fmla="*/ 28654045 h 146"/>
                <a:gd name="T54" fmla="*/ 32674796 w 109"/>
                <a:gd name="T55" fmla="*/ 32206819 h 146"/>
                <a:gd name="T56" fmla="*/ 24321603 w 109"/>
                <a:gd name="T57" fmla="*/ 32565281 h 146"/>
                <a:gd name="T58" fmla="*/ 21394071 w 109"/>
                <a:gd name="T59" fmla="*/ 35327357 h 146"/>
                <a:gd name="T60" fmla="*/ 17800827 w 109"/>
                <a:gd name="T61" fmla="*/ 37095164 h 146"/>
                <a:gd name="T62" fmla="*/ 14503499 w 109"/>
                <a:gd name="T63" fmla="*/ 44042973 h 146"/>
                <a:gd name="T64" fmla="*/ 14503499 w 109"/>
                <a:gd name="T65" fmla="*/ 47236813 h 146"/>
                <a:gd name="T66" fmla="*/ 12671017 w 109"/>
                <a:gd name="T67" fmla="*/ 51078258 h 146"/>
                <a:gd name="T68" fmla="*/ 11280731 w 109"/>
                <a:gd name="T69" fmla="*/ 51078258 h 146"/>
                <a:gd name="T70" fmla="*/ 9448370 w 109"/>
                <a:gd name="T71" fmla="*/ 47957128 h 146"/>
                <a:gd name="T72" fmla="*/ 9448370 w 109"/>
                <a:gd name="T73" fmla="*/ 46172160 h 146"/>
                <a:gd name="T74" fmla="*/ 7612821 w 109"/>
                <a:gd name="T75" fmla="*/ 44763328 h 146"/>
                <a:gd name="T76" fmla="*/ 9448370 w 109"/>
                <a:gd name="T77" fmla="*/ 41642277 h 146"/>
                <a:gd name="T78" fmla="*/ 11280731 w 109"/>
                <a:gd name="T79" fmla="*/ 41642277 h 146"/>
                <a:gd name="T80" fmla="*/ 11280731 w 109"/>
                <a:gd name="T81" fmla="*/ 39154659 h 146"/>
                <a:gd name="T82" fmla="*/ 7612821 w 109"/>
                <a:gd name="T83" fmla="*/ 39154659 h 146"/>
                <a:gd name="T84" fmla="*/ 5055153 w 109"/>
                <a:gd name="T85" fmla="*/ 35686312 h 146"/>
                <a:gd name="T86" fmla="*/ 5055153 w 109"/>
                <a:gd name="T87" fmla="*/ 33904342 h 146"/>
                <a:gd name="T88" fmla="*/ 3667913 w 109"/>
                <a:gd name="T89" fmla="*/ 33904342 h 146"/>
                <a:gd name="T90" fmla="*/ 5055153 w 109"/>
                <a:gd name="T91" fmla="*/ 32565281 h 146"/>
                <a:gd name="T92" fmla="*/ 5425634 w 109"/>
                <a:gd name="T93" fmla="*/ 25186290 h 146"/>
                <a:gd name="T94" fmla="*/ 3667913 w 109"/>
                <a:gd name="T95" fmla="*/ 23762683 h 146"/>
                <a:gd name="T96" fmla="*/ 1832384 w 109"/>
                <a:gd name="T97" fmla="*/ 23762683 h 146"/>
                <a:gd name="T98" fmla="*/ 0 w 109"/>
                <a:gd name="T99" fmla="*/ 22065278 h 146"/>
                <a:gd name="T100" fmla="*/ 5425634 w 109"/>
                <a:gd name="T101" fmla="*/ 18871473 h 146"/>
                <a:gd name="T102" fmla="*/ 7982711 w 109"/>
                <a:gd name="T103" fmla="*/ 13621156 h 146"/>
                <a:gd name="T104" fmla="*/ 9818116 w 109"/>
                <a:gd name="T105" fmla="*/ 12270822 h 146"/>
                <a:gd name="T106" fmla="*/ 9818116 w 109"/>
                <a:gd name="T107" fmla="*/ 8012361 h 146"/>
                <a:gd name="T108" fmla="*/ 13041497 w 109"/>
                <a:gd name="T109" fmla="*/ 4891359 h 146"/>
                <a:gd name="T110" fmla="*/ 13041497 w 109"/>
                <a:gd name="T111" fmla="*/ 0 h 1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9"/>
                <a:gd name="T169" fmla="*/ 0 h 146"/>
                <a:gd name="T170" fmla="*/ 109 w 109"/>
                <a:gd name="T171" fmla="*/ 146 h 1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9" h="146">
                  <a:moveTo>
                    <a:pt x="36" y="0"/>
                  </a:moveTo>
                  <a:lnTo>
                    <a:pt x="40" y="4"/>
                  </a:lnTo>
                  <a:lnTo>
                    <a:pt x="49" y="4"/>
                  </a:lnTo>
                  <a:lnTo>
                    <a:pt x="49" y="8"/>
                  </a:lnTo>
                  <a:lnTo>
                    <a:pt x="54" y="4"/>
                  </a:lnTo>
                  <a:lnTo>
                    <a:pt x="63" y="14"/>
                  </a:lnTo>
                  <a:lnTo>
                    <a:pt x="59" y="18"/>
                  </a:lnTo>
                  <a:lnTo>
                    <a:pt x="63" y="19"/>
                  </a:lnTo>
                  <a:lnTo>
                    <a:pt x="63" y="22"/>
                  </a:lnTo>
                  <a:lnTo>
                    <a:pt x="59" y="26"/>
                  </a:lnTo>
                  <a:lnTo>
                    <a:pt x="63" y="27"/>
                  </a:lnTo>
                  <a:lnTo>
                    <a:pt x="59" y="34"/>
                  </a:lnTo>
                  <a:lnTo>
                    <a:pt x="63" y="34"/>
                  </a:lnTo>
                  <a:lnTo>
                    <a:pt x="68" y="27"/>
                  </a:lnTo>
                  <a:lnTo>
                    <a:pt x="72" y="27"/>
                  </a:lnTo>
                  <a:lnTo>
                    <a:pt x="73" y="23"/>
                  </a:lnTo>
                  <a:lnTo>
                    <a:pt x="82" y="22"/>
                  </a:lnTo>
                  <a:lnTo>
                    <a:pt x="81" y="18"/>
                  </a:lnTo>
                  <a:lnTo>
                    <a:pt x="96" y="27"/>
                  </a:lnTo>
                  <a:lnTo>
                    <a:pt x="109" y="27"/>
                  </a:lnTo>
                  <a:lnTo>
                    <a:pt x="100" y="38"/>
                  </a:lnTo>
                  <a:lnTo>
                    <a:pt x="95" y="38"/>
                  </a:lnTo>
                  <a:lnTo>
                    <a:pt x="91" y="47"/>
                  </a:lnTo>
                  <a:lnTo>
                    <a:pt x="90" y="67"/>
                  </a:lnTo>
                  <a:lnTo>
                    <a:pt x="87" y="71"/>
                  </a:lnTo>
                  <a:lnTo>
                    <a:pt x="86" y="82"/>
                  </a:lnTo>
                  <a:lnTo>
                    <a:pt x="90" y="82"/>
                  </a:lnTo>
                  <a:lnTo>
                    <a:pt x="90" y="92"/>
                  </a:lnTo>
                  <a:lnTo>
                    <a:pt x="67" y="93"/>
                  </a:lnTo>
                  <a:lnTo>
                    <a:pt x="59" y="101"/>
                  </a:lnTo>
                  <a:lnTo>
                    <a:pt x="49" y="106"/>
                  </a:lnTo>
                  <a:lnTo>
                    <a:pt x="40" y="126"/>
                  </a:lnTo>
                  <a:lnTo>
                    <a:pt x="40" y="135"/>
                  </a:lnTo>
                  <a:lnTo>
                    <a:pt x="35" y="146"/>
                  </a:lnTo>
                  <a:lnTo>
                    <a:pt x="31" y="146"/>
                  </a:lnTo>
                  <a:lnTo>
                    <a:pt x="26" y="137"/>
                  </a:lnTo>
                  <a:lnTo>
                    <a:pt x="26" y="132"/>
                  </a:lnTo>
                  <a:lnTo>
                    <a:pt x="21" y="128"/>
                  </a:lnTo>
                  <a:lnTo>
                    <a:pt x="26" y="119"/>
                  </a:lnTo>
                  <a:lnTo>
                    <a:pt x="31" y="119"/>
                  </a:lnTo>
                  <a:lnTo>
                    <a:pt x="31" y="112"/>
                  </a:lnTo>
                  <a:lnTo>
                    <a:pt x="21" y="112"/>
                  </a:lnTo>
                  <a:lnTo>
                    <a:pt x="14" y="102"/>
                  </a:lnTo>
                  <a:lnTo>
                    <a:pt x="14" y="97"/>
                  </a:lnTo>
                  <a:lnTo>
                    <a:pt x="10" y="97"/>
                  </a:lnTo>
                  <a:lnTo>
                    <a:pt x="14" y="93"/>
                  </a:lnTo>
                  <a:lnTo>
                    <a:pt x="15" y="72"/>
                  </a:lnTo>
                  <a:lnTo>
                    <a:pt x="10" y="68"/>
                  </a:lnTo>
                  <a:lnTo>
                    <a:pt x="5" y="68"/>
                  </a:lnTo>
                  <a:lnTo>
                    <a:pt x="0" y="63"/>
                  </a:lnTo>
                  <a:lnTo>
                    <a:pt x="15" y="54"/>
                  </a:lnTo>
                  <a:lnTo>
                    <a:pt x="22" y="39"/>
                  </a:lnTo>
                  <a:lnTo>
                    <a:pt x="27" y="35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36" y="0"/>
                  </a:lnTo>
                </a:path>
              </a:pathLst>
            </a:custGeom>
            <a:solidFill>
              <a:srgbClr val="0054B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Freeform 138">
              <a:extLst>
                <a:ext uri="{FF2B5EF4-FFF2-40B4-BE49-F238E27FC236}">
                  <a16:creationId xmlns:a16="http://schemas.microsoft.com/office/drawing/2014/main" id="{6EBD4065-D801-02FD-0378-CFA148B84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8630" y="1824648"/>
              <a:ext cx="440924" cy="367332"/>
            </a:xfrm>
            <a:custGeom>
              <a:avLst/>
              <a:gdLst>
                <a:gd name="T0" fmla="*/ 24368921 w 111"/>
                <a:gd name="T1" fmla="*/ 3865246 h 95"/>
                <a:gd name="T2" fmla="*/ 28944355 w 111"/>
                <a:gd name="T3" fmla="*/ 5644944 h 95"/>
                <a:gd name="T4" fmla="*/ 28944355 w 111"/>
                <a:gd name="T5" fmla="*/ 13434264 h 95"/>
                <a:gd name="T6" fmla="*/ 32448690 w 111"/>
                <a:gd name="T7" fmla="*/ 18008701 h 95"/>
                <a:gd name="T8" fmla="*/ 37384737 w 111"/>
                <a:gd name="T9" fmla="*/ 18008701 h 95"/>
                <a:gd name="T10" fmla="*/ 37384737 w 111"/>
                <a:gd name="T11" fmla="*/ 21152259 h 95"/>
                <a:gd name="T12" fmla="*/ 39165135 w 111"/>
                <a:gd name="T13" fmla="*/ 24366438 h 95"/>
                <a:gd name="T14" fmla="*/ 39165135 w 111"/>
                <a:gd name="T15" fmla="*/ 25727426 h 95"/>
                <a:gd name="T16" fmla="*/ 37384737 w 111"/>
                <a:gd name="T17" fmla="*/ 27521908 h 95"/>
                <a:gd name="T18" fmla="*/ 36023822 w 111"/>
                <a:gd name="T19" fmla="*/ 31736450 h 95"/>
                <a:gd name="T20" fmla="*/ 34244017 w 111"/>
                <a:gd name="T21" fmla="*/ 33516003 h 95"/>
                <a:gd name="T22" fmla="*/ 27524571 w 111"/>
                <a:gd name="T23" fmla="*/ 33516003 h 95"/>
                <a:gd name="T24" fmla="*/ 25729975 w 111"/>
                <a:gd name="T25" fmla="*/ 31736450 h 95"/>
                <a:gd name="T26" fmla="*/ 24020196 w 111"/>
                <a:gd name="T27" fmla="*/ 31736450 h 95"/>
                <a:gd name="T28" fmla="*/ 21154423 w 111"/>
                <a:gd name="T29" fmla="*/ 29302074 h 95"/>
                <a:gd name="T30" fmla="*/ 21154423 w 111"/>
                <a:gd name="T31" fmla="*/ 27521908 h 95"/>
                <a:gd name="T32" fmla="*/ 12728343 w 111"/>
                <a:gd name="T33" fmla="*/ 27521908 h 95"/>
                <a:gd name="T34" fmla="*/ 11294262 w 111"/>
                <a:gd name="T35" fmla="*/ 25727426 h 95"/>
                <a:gd name="T36" fmla="*/ 7789894 w 111"/>
                <a:gd name="T37" fmla="*/ 24366438 h 95"/>
                <a:gd name="T38" fmla="*/ 6355206 w 111"/>
                <a:gd name="T39" fmla="*/ 19442695 h 95"/>
                <a:gd name="T40" fmla="*/ 7789894 w 111"/>
                <a:gd name="T41" fmla="*/ 19442695 h 95"/>
                <a:gd name="T42" fmla="*/ 6355206 w 111"/>
                <a:gd name="T43" fmla="*/ 15158613 h 95"/>
                <a:gd name="T44" fmla="*/ 4936043 w 111"/>
                <a:gd name="T45" fmla="*/ 12002679 h 95"/>
                <a:gd name="T46" fmla="*/ 0 w 111"/>
                <a:gd name="T47" fmla="*/ 10583594 h 95"/>
                <a:gd name="T48" fmla="*/ 1434077 w 111"/>
                <a:gd name="T49" fmla="*/ 9149572 h 95"/>
                <a:gd name="T50" fmla="*/ 5284750 w 111"/>
                <a:gd name="T51" fmla="*/ 9513210 h 95"/>
                <a:gd name="T52" fmla="*/ 7789894 w 111"/>
                <a:gd name="T53" fmla="*/ 8439798 h 95"/>
                <a:gd name="T54" fmla="*/ 12004213 w 111"/>
                <a:gd name="T55" fmla="*/ 5644944 h 95"/>
                <a:gd name="T56" fmla="*/ 14435703 w 111"/>
                <a:gd name="T57" fmla="*/ 5644944 h 95"/>
                <a:gd name="T58" fmla="*/ 14799230 w 111"/>
                <a:gd name="T59" fmla="*/ 3140558 h 95"/>
                <a:gd name="T60" fmla="*/ 16230309 w 111"/>
                <a:gd name="T61" fmla="*/ 2504386 h 95"/>
                <a:gd name="T62" fmla="*/ 15869676 w 111"/>
                <a:gd name="T63" fmla="*/ 0 h 95"/>
                <a:gd name="T64" fmla="*/ 21154423 w 111"/>
                <a:gd name="T65" fmla="*/ 0 h 95"/>
                <a:gd name="T66" fmla="*/ 24368921 w 111"/>
                <a:gd name="T67" fmla="*/ 3865246 h 9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"/>
                <a:gd name="T103" fmla="*/ 0 h 95"/>
                <a:gd name="T104" fmla="*/ 111 w 111"/>
                <a:gd name="T105" fmla="*/ 95 h 9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" h="95">
                  <a:moveTo>
                    <a:pt x="69" y="11"/>
                  </a:moveTo>
                  <a:lnTo>
                    <a:pt x="82" y="16"/>
                  </a:lnTo>
                  <a:cubicBezTo>
                    <a:pt x="82" y="24"/>
                    <a:pt x="82" y="31"/>
                    <a:pt x="82" y="38"/>
                  </a:cubicBezTo>
                  <a:lnTo>
                    <a:pt x="92" y="51"/>
                  </a:lnTo>
                  <a:lnTo>
                    <a:pt x="106" y="51"/>
                  </a:lnTo>
                  <a:lnTo>
                    <a:pt x="106" y="60"/>
                  </a:lnTo>
                  <a:lnTo>
                    <a:pt x="111" y="69"/>
                  </a:lnTo>
                  <a:lnTo>
                    <a:pt x="111" y="73"/>
                  </a:lnTo>
                  <a:lnTo>
                    <a:pt x="106" y="78"/>
                  </a:lnTo>
                  <a:lnTo>
                    <a:pt x="102" y="90"/>
                  </a:lnTo>
                  <a:lnTo>
                    <a:pt x="97" y="95"/>
                  </a:lnTo>
                  <a:lnTo>
                    <a:pt x="78" y="95"/>
                  </a:lnTo>
                  <a:lnTo>
                    <a:pt x="73" y="90"/>
                  </a:lnTo>
                  <a:lnTo>
                    <a:pt x="68" y="90"/>
                  </a:lnTo>
                  <a:lnTo>
                    <a:pt x="60" y="83"/>
                  </a:lnTo>
                  <a:lnTo>
                    <a:pt x="60" y="78"/>
                  </a:lnTo>
                  <a:cubicBezTo>
                    <a:pt x="52" y="78"/>
                    <a:pt x="44" y="78"/>
                    <a:pt x="36" y="78"/>
                  </a:cubicBezTo>
                  <a:lnTo>
                    <a:pt x="32" y="73"/>
                  </a:lnTo>
                  <a:lnTo>
                    <a:pt x="22" y="69"/>
                  </a:lnTo>
                  <a:lnTo>
                    <a:pt x="18" y="55"/>
                  </a:lnTo>
                  <a:lnTo>
                    <a:pt x="22" y="55"/>
                  </a:lnTo>
                  <a:lnTo>
                    <a:pt x="18" y="43"/>
                  </a:lnTo>
                  <a:lnTo>
                    <a:pt x="14" y="34"/>
                  </a:lnTo>
                  <a:lnTo>
                    <a:pt x="0" y="30"/>
                  </a:lnTo>
                  <a:lnTo>
                    <a:pt x="4" y="26"/>
                  </a:lnTo>
                  <a:lnTo>
                    <a:pt x="15" y="27"/>
                  </a:lnTo>
                  <a:lnTo>
                    <a:pt x="22" y="24"/>
                  </a:lnTo>
                  <a:lnTo>
                    <a:pt x="34" y="16"/>
                  </a:lnTo>
                  <a:lnTo>
                    <a:pt x="41" y="16"/>
                  </a:lnTo>
                  <a:lnTo>
                    <a:pt x="42" y="9"/>
                  </a:lnTo>
                  <a:lnTo>
                    <a:pt x="46" y="7"/>
                  </a:lnTo>
                  <a:lnTo>
                    <a:pt x="45" y="0"/>
                  </a:lnTo>
                  <a:lnTo>
                    <a:pt x="60" y="0"/>
                  </a:lnTo>
                  <a:lnTo>
                    <a:pt x="69" y="11"/>
                  </a:ln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" name="Freeform 139">
              <a:extLst>
                <a:ext uri="{FF2B5EF4-FFF2-40B4-BE49-F238E27FC236}">
                  <a16:creationId xmlns:a16="http://schemas.microsoft.com/office/drawing/2014/main" id="{86F95326-0EE0-6B03-D701-6093832E2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3813" y="1298322"/>
              <a:ext cx="144829" cy="101819"/>
            </a:xfrm>
            <a:custGeom>
              <a:avLst/>
              <a:gdLst>
                <a:gd name="T0" fmla="*/ 5313 w 81"/>
                <a:gd name="T1" fmla="*/ 25930 h 61"/>
                <a:gd name="T2" fmla="*/ 0 w 81"/>
                <a:gd name="T3" fmla="*/ 20791 h 61"/>
                <a:gd name="T4" fmla="*/ 0 w 81"/>
                <a:gd name="T5" fmla="*/ 7608 h 61"/>
                <a:gd name="T6" fmla="*/ 4829 w 81"/>
                <a:gd name="T7" fmla="*/ 7608 h 61"/>
                <a:gd name="T8" fmla="*/ 4829 w 81"/>
                <a:gd name="T9" fmla="*/ 3389 h 61"/>
                <a:gd name="T10" fmla="*/ 23847 w 81"/>
                <a:gd name="T11" fmla="*/ 386 h 61"/>
                <a:gd name="T12" fmla="*/ 48187 w 81"/>
                <a:gd name="T13" fmla="*/ 3389 h 61"/>
                <a:gd name="T14" fmla="*/ 42873 w 81"/>
                <a:gd name="T15" fmla="*/ 17985 h 61"/>
                <a:gd name="T16" fmla="*/ 38044 w 81"/>
                <a:gd name="T17" fmla="*/ 17985 h 61"/>
                <a:gd name="T18" fmla="*/ 38044 w 81"/>
                <a:gd name="T19" fmla="*/ 22196 h 61"/>
                <a:gd name="T20" fmla="*/ 26731 w 81"/>
                <a:gd name="T21" fmla="*/ 22196 h 61"/>
                <a:gd name="T22" fmla="*/ 21467 w 81"/>
                <a:gd name="T23" fmla="*/ 25930 h 61"/>
                <a:gd name="T24" fmla="*/ 5313 w 81"/>
                <a:gd name="T25" fmla="*/ 25930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1"/>
                <a:gd name="T40" fmla="*/ 0 h 61"/>
                <a:gd name="T41" fmla="*/ 81 w 81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1" h="61">
                  <a:moveTo>
                    <a:pt x="9" y="61"/>
                  </a:moveTo>
                  <a:lnTo>
                    <a:pt x="0" y="49"/>
                  </a:lnTo>
                  <a:lnTo>
                    <a:pt x="0" y="18"/>
                  </a:lnTo>
                  <a:lnTo>
                    <a:pt x="8" y="18"/>
                  </a:lnTo>
                  <a:lnTo>
                    <a:pt x="8" y="8"/>
                  </a:lnTo>
                  <a:cubicBezTo>
                    <a:pt x="17" y="2"/>
                    <a:pt x="30" y="1"/>
                    <a:pt x="40" y="1"/>
                  </a:cubicBezTo>
                  <a:cubicBezTo>
                    <a:pt x="54" y="1"/>
                    <a:pt x="67" y="0"/>
                    <a:pt x="81" y="8"/>
                  </a:cubicBezTo>
                  <a:lnTo>
                    <a:pt x="72" y="42"/>
                  </a:lnTo>
                  <a:lnTo>
                    <a:pt x="64" y="42"/>
                  </a:lnTo>
                  <a:lnTo>
                    <a:pt x="64" y="52"/>
                  </a:lnTo>
                  <a:lnTo>
                    <a:pt x="45" y="52"/>
                  </a:lnTo>
                  <a:lnTo>
                    <a:pt x="36" y="61"/>
                  </a:lnTo>
                  <a:cubicBezTo>
                    <a:pt x="24" y="61"/>
                    <a:pt x="21" y="61"/>
                    <a:pt x="9" y="61"/>
                  </a:cubicBezTo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4" name="TextBox 3">
            <a:extLst>
              <a:ext uri="{FF2B5EF4-FFF2-40B4-BE49-F238E27FC236}">
                <a16:creationId xmlns:a16="http://schemas.microsoft.com/office/drawing/2014/main" id="{F40F91F2-E654-4EF3-78F9-CDAEC0888608}"/>
              </a:ext>
            </a:extLst>
          </p:cNvPr>
          <p:cNvSpPr txBox="1"/>
          <p:nvPr/>
        </p:nvSpPr>
        <p:spPr>
          <a:xfrm>
            <a:off x="1151951" y="7975981"/>
            <a:ext cx="577931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r>
              <a:rPr lang="pt-BR" sz="36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 anos de atuação</a:t>
            </a:r>
          </a:p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r>
              <a:rPr lang="pt-BR" sz="36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íder de mercado com foco no </a:t>
            </a:r>
            <a:r>
              <a:rPr lang="pt-BR" sz="36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e, Nordeste, Centro-Oeste e interior de São Paulo</a:t>
            </a:r>
          </a:p>
          <a:p>
            <a:pPr marL="285750" indent="-285750" defTabSz="949902">
              <a:buClr>
                <a:srgbClr val="F15820"/>
              </a:buClr>
              <a:buSzPct val="70000"/>
              <a:buFont typeface="Tahoma" panose="020B0604030504040204" pitchFamily="34" charset="0"/>
              <a:buChar char="→"/>
            </a:pPr>
            <a:endParaRPr lang="pt-BR" sz="36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5" name="Imagem 64">
            <a:extLst>
              <a:ext uri="{FF2B5EF4-FFF2-40B4-BE49-F238E27FC236}">
                <a16:creationId xmlns:a16="http://schemas.microsoft.com/office/drawing/2014/main" id="{46691EB4-4A54-7884-4049-BF2E38F45B3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6185" y="6989429"/>
            <a:ext cx="2845494" cy="610037"/>
          </a:xfrm>
          <a:prstGeom prst="rect">
            <a:avLst/>
          </a:prstGeom>
        </p:spPr>
      </p:pic>
      <p:sp>
        <p:nvSpPr>
          <p:cNvPr id="67" name="TextBox 3">
            <a:extLst>
              <a:ext uri="{FF2B5EF4-FFF2-40B4-BE49-F238E27FC236}">
                <a16:creationId xmlns:a16="http://schemas.microsoft.com/office/drawing/2014/main" id="{9CC27BF8-FD58-1FED-E67D-992F4A7640BA}"/>
              </a:ext>
            </a:extLst>
          </p:cNvPr>
          <p:cNvSpPr txBox="1"/>
          <p:nvPr/>
        </p:nvSpPr>
        <p:spPr>
          <a:xfrm>
            <a:off x="12941782" y="7975981"/>
            <a:ext cx="47726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r>
              <a:rPr lang="pt-BR" sz="36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4 anos de atuação</a:t>
            </a:r>
          </a:p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r>
              <a:rPr lang="pt-BR" sz="36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íder de mercado com foco no </a:t>
            </a:r>
            <a:r>
              <a:rPr lang="pt-BR" sz="36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deste e Sul</a:t>
            </a:r>
          </a:p>
        </p:txBody>
      </p:sp>
      <p:pic>
        <p:nvPicPr>
          <p:cNvPr id="68" name="Gráfico 67">
            <a:extLst>
              <a:ext uri="{FF2B5EF4-FFF2-40B4-BE49-F238E27FC236}">
                <a16:creationId xmlns:a16="http://schemas.microsoft.com/office/drawing/2014/main" id="{DD8ACFD3-4358-1E14-2C02-6547706E78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127459" y="6948095"/>
            <a:ext cx="2389832" cy="692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4455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245F83D1-53E5-A1D2-365F-3307BD6DE3EB}"/>
              </a:ext>
            </a:extLst>
          </p:cNvPr>
          <p:cNvSpPr txBox="1"/>
          <p:nvPr/>
        </p:nvSpPr>
        <p:spPr>
          <a:xfrm>
            <a:off x="630677" y="573770"/>
            <a:ext cx="20466090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5000" b="1" dirty="0"/>
              <a:t>CONSULTA A REDE DE ATENDIMENTO</a:t>
            </a:r>
          </a:p>
          <a:p>
            <a:r>
              <a:rPr lang="pt-BR" sz="5000" b="1" dirty="0"/>
              <a:t>Exemplo de pesquisa nos municípios atendidos pela HAPVIDA:</a:t>
            </a:r>
          </a:p>
          <a:p>
            <a:endParaRPr lang="pt-BR" sz="5000" b="1" dirty="0"/>
          </a:p>
          <a:p>
            <a:endParaRPr lang="pt-BR" sz="5000" b="1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0A492398-916E-12B0-69C4-DF506F8949AD}"/>
              </a:ext>
            </a:extLst>
          </p:cNvPr>
          <p:cNvSpPr txBox="1"/>
          <p:nvPr/>
        </p:nvSpPr>
        <p:spPr>
          <a:xfrm>
            <a:off x="630677" y="2112205"/>
            <a:ext cx="1218875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dirty="0"/>
              <a:t>https://https://www.hapvida.com.br/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0A8DD2EC-E799-9360-85DC-7052680486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22960" y="3994109"/>
            <a:ext cx="23012399" cy="8175726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81836167-BBED-3C6A-DC5C-3D7CB55006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2974" y="3302003"/>
            <a:ext cx="18363793" cy="883807"/>
          </a:xfrm>
          <a:prstGeom prst="rect">
            <a:avLst/>
          </a:prstGeom>
        </p:spPr>
      </p:pic>
      <p:sp>
        <p:nvSpPr>
          <p:cNvPr id="13" name="Seta: para a Direita 12">
            <a:extLst>
              <a:ext uri="{FF2B5EF4-FFF2-40B4-BE49-F238E27FC236}">
                <a16:creationId xmlns:a16="http://schemas.microsoft.com/office/drawing/2014/main" id="{B4B7529D-C231-31B3-CFB5-936D8616829B}"/>
              </a:ext>
            </a:extLst>
          </p:cNvPr>
          <p:cNvSpPr/>
          <p:nvPr/>
        </p:nvSpPr>
        <p:spPr>
          <a:xfrm>
            <a:off x="4834831" y="2855378"/>
            <a:ext cx="2120466" cy="1498059"/>
          </a:xfrm>
          <a:prstGeom prst="rightArrow">
            <a:avLst/>
          </a:prstGeom>
          <a:solidFill>
            <a:srgbClr val="F481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highlight>
                <a:srgbClr val="F49E00"/>
              </a:highlight>
            </a:endParaRPr>
          </a:p>
        </p:txBody>
      </p:sp>
      <p:sp>
        <p:nvSpPr>
          <p:cNvPr id="14" name="Seta: para Baixo 13">
            <a:extLst>
              <a:ext uri="{FF2B5EF4-FFF2-40B4-BE49-F238E27FC236}">
                <a16:creationId xmlns:a16="http://schemas.microsoft.com/office/drawing/2014/main" id="{101838AE-9B8B-61AA-A456-016A3118FCD5}"/>
              </a:ext>
            </a:extLst>
          </p:cNvPr>
          <p:cNvSpPr/>
          <p:nvPr/>
        </p:nvSpPr>
        <p:spPr>
          <a:xfrm rot="16200000">
            <a:off x="1491934" y="6195282"/>
            <a:ext cx="1245141" cy="1236940"/>
          </a:xfrm>
          <a:prstGeom prst="downArrow">
            <a:avLst/>
          </a:prstGeom>
          <a:solidFill>
            <a:srgbClr val="F481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26534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pic>
        <p:nvPicPr>
          <p:cNvPr id="3" name="Imagem 12">
            <a:extLst>
              <a:ext uri="{FF2B5EF4-FFF2-40B4-BE49-F238E27FC236}">
                <a16:creationId xmlns:a16="http://schemas.microsoft.com/office/drawing/2014/main" id="{B7399E65-88AF-6534-1158-B4E7E62C43BF}"/>
              </a:ext>
            </a:extLst>
          </p:cNvPr>
          <p:cNvPicPr/>
          <p:nvPr/>
        </p:nvPicPr>
        <p:blipFill>
          <a:blip r:embed="rId3"/>
          <a:srcRect l="52757" r="9523"/>
          <a:stretch/>
        </p:blipFill>
        <p:spPr>
          <a:xfrm>
            <a:off x="17323455" y="1"/>
            <a:ext cx="7059749" cy="10350098"/>
          </a:xfrm>
          <a:prstGeom prst="rect">
            <a:avLst/>
          </a:prstGeom>
          <a:ln>
            <a:noFill/>
          </a:ln>
        </p:spPr>
      </p:pic>
      <p:sp>
        <p:nvSpPr>
          <p:cNvPr id="4" name="CustomShape 2">
            <a:extLst>
              <a:ext uri="{FF2B5EF4-FFF2-40B4-BE49-F238E27FC236}">
                <a16:creationId xmlns:a16="http://schemas.microsoft.com/office/drawing/2014/main" id="{B04A30E4-CFC2-FF38-0287-E80AD965C51F}"/>
              </a:ext>
            </a:extLst>
          </p:cNvPr>
          <p:cNvSpPr/>
          <p:nvPr/>
        </p:nvSpPr>
        <p:spPr>
          <a:xfrm>
            <a:off x="278860" y="1910758"/>
            <a:ext cx="15619657" cy="878556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O novo aplicativo do </a:t>
            </a:r>
            <a:r>
              <a:rPr kumimoji="0" lang="pt-BR" sz="4500" b="1" i="0" u="none" strike="noStrike" kern="1200" cap="none" spc="-1" normalizeH="0" baseline="3000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Hapvida</a:t>
            </a:r>
            <a:r>
              <a:rPr kumimoji="0" lang="pt-BR" sz="4500" b="1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 </a:t>
            </a:r>
            <a:r>
              <a:rPr kumimoji="0" lang="pt-BR" sz="4500" b="1" i="0" u="none" strike="noStrike" kern="1200" cap="none" spc="-1" normalizeH="0" baseline="3000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NotreDame</a:t>
            </a:r>
            <a:r>
              <a:rPr kumimoji="0" lang="pt-BR" sz="4500" b="1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 Intermédica </a:t>
            </a: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coloca a saúde cada vez mais na era digital.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 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O que as empresas e seus funcionários ganham com isso?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Não precisam esperar mais a distribuição da carteirinha física para os beneficiários. O plano pode começar a ser usado muito mais rápido, a partir da vigência do contrato;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Como a carteirinha passa a ser digital, o beneficiário tem todas as informações na palma da mão, onde ele estiver, com a facilidade de compartilhá-la aos dependentes por e-mail ou WhatsApp;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Possibilidade de utilizar a carteirinha digital sem acesso a internet;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Verificar a cobertura do plano de saúde e/ou odontológico;</a:t>
            </a:r>
            <a:endParaRPr kumimoji="0" lang="pt-BR" sz="45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214200" marR="0" lvl="0" indent="-20736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Tx/>
              <a:buFont typeface="Arial"/>
              <a:buChar char="•"/>
              <a:tabLst/>
              <a:defRPr/>
            </a:pPr>
            <a:r>
              <a:rPr kumimoji="0" lang="pt-BR" sz="45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Agendar e desmarcar consultas de um jeito rápido e fácil</a:t>
            </a:r>
            <a:r>
              <a:rPr kumimoji="0" lang="pt-BR" sz="5000" b="0" i="0" u="none" strike="noStrike" kern="1200" cap="none" spc="-1" normalizeH="0" baseline="3000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DejaVu Sans"/>
                <a:cs typeface="DejaVu Sans"/>
              </a:rPr>
              <a:t>;</a:t>
            </a:r>
            <a:endParaRPr kumimoji="0" lang="pt-BR" sz="50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500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pic>
        <p:nvPicPr>
          <p:cNvPr id="6" name="Imagem 2">
            <a:extLst>
              <a:ext uri="{FF2B5EF4-FFF2-40B4-BE49-F238E27FC236}">
                <a16:creationId xmlns:a16="http://schemas.microsoft.com/office/drawing/2014/main" id="{743E40DB-6049-FE31-A8A4-C431AF6B131C}"/>
              </a:ext>
            </a:extLst>
          </p:cNvPr>
          <p:cNvPicPr/>
          <p:nvPr/>
        </p:nvPicPr>
        <p:blipFill>
          <a:blip r:embed="rId4"/>
          <a:srcRect l="12308" t="82163" r="58232" b="14383"/>
          <a:stretch/>
        </p:blipFill>
        <p:spPr>
          <a:xfrm>
            <a:off x="836509" y="11805242"/>
            <a:ext cx="5836665" cy="1410766"/>
          </a:xfrm>
          <a:prstGeom prst="rect">
            <a:avLst/>
          </a:prstGeom>
          <a:ln>
            <a:noFill/>
          </a:ln>
        </p:spPr>
      </p:pic>
      <p:sp>
        <p:nvSpPr>
          <p:cNvPr id="7" name="CustomShape 1">
            <a:extLst>
              <a:ext uri="{FF2B5EF4-FFF2-40B4-BE49-F238E27FC236}">
                <a16:creationId xmlns:a16="http://schemas.microsoft.com/office/drawing/2014/main" id="{018A7343-8E10-C2C1-8E0A-3B952862A482}"/>
              </a:ext>
            </a:extLst>
          </p:cNvPr>
          <p:cNvSpPr/>
          <p:nvPr/>
        </p:nvSpPr>
        <p:spPr>
          <a:xfrm>
            <a:off x="278860" y="704780"/>
            <a:ext cx="7012440" cy="7064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000" b="1" i="1" spc="-1" dirty="0">
                <a:solidFill>
                  <a:schemeClr val="accent2"/>
                </a:solidFill>
                <a:latin typeface="Arial Narrow"/>
                <a:ea typeface="DejaVu Sans"/>
                <a:cs typeface="DejaVu Sans"/>
              </a:rPr>
              <a:t>HAPVIDA APP</a:t>
            </a:r>
            <a:endParaRPr kumimoji="0" lang="pt-BR" sz="4000" b="1" i="1" u="none" strike="noStrike" kern="1200" cap="none" spc="-1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DejaVu Sans"/>
              <a:cs typeface="DejaVu Sans"/>
            </a:endParaRP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8792EF75-905D-1E38-95E0-89BA0E5B21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61852" y="9870983"/>
            <a:ext cx="6461103" cy="3685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6500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893"/>
            <a:ext cx="24382413" cy="13715107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B07892A9-B464-98B8-0B98-25EB5A337901}"/>
              </a:ext>
            </a:extLst>
          </p:cNvPr>
          <p:cNvSpPr txBox="1">
            <a:spLocks/>
          </p:cNvSpPr>
          <p:nvPr/>
        </p:nvSpPr>
        <p:spPr>
          <a:xfrm>
            <a:off x="2451370" y="4757503"/>
            <a:ext cx="18093447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828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APLICATIVO HAPVIDA</a:t>
            </a:r>
          </a:p>
        </p:txBody>
      </p:sp>
      <p:pic>
        <p:nvPicPr>
          <p:cNvPr id="2" name="VID-20220718-WA0001">
            <a:hlinkClick r:id="" action="ppaction://media"/>
            <a:extLst>
              <a:ext uri="{FF2B5EF4-FFF2-40B4-BE49-F238E27FC236}">
                <a16:creationId xmlns:a16="http://schemas.microsoft.com/office/drawing/2014/main" id="{CCFD9728-C0CE-D307-205A-C15EA9DAC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6320" y="621102"/>
            <a:ext cx="22311360" cy="1247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2094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DC9328D4-3FEF-15B3-FB64-75940D090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70044" y="846983"/>
            <a:ext cx="18093447" cy="2651126"/>
          </a:xfrm>
        </p:spPr>
        <p:txBody>
          <a:bodyPr>
            <a:normAutofit/>
          </a:bodyPr>
          <a:lstStyle/>
          <a:p>
            <a:pPr algn="ctr"/>
            <a:b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</a:br>
            <a:endParaRPr lang="pt-BR" sz="7200" b="1" dirty="0">
              <a:solidFill>
                <a:schemeClr val="tx1">
                  <a:lumMod val="75000"/>
                  <a:lumOff val="25000"/>
                </a:schemeClr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4CB2ED7-6B4A-0DC3-F0D3-04035F6B46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396" y="846983"/>
            <a:ext cx="22339714" cy="10398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2184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893"/>
            <a:ext cx="24382413" cy="13715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308DF50-21CF-4FC1-A9B2-9AC59F89F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097147" y="-111278"/>
            <a:ext cx="21602272" cy="2651126"/>
          </a:xfrm>
        </p:spPr>
        <p:txBody>
          <a:bodyPr>
            <a:normAutofit/>
          </a:bodyPr>
          <a:lstStyle/>
          <a:p>
            <a:pPr algn="ctr"/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CANAIS DE ATENDIMENTO NDI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8AEBD303-6929-A30F-C0EF-6D55277614CC}"/>
              </a:ext>
            </a:extLst>
          </p:cNvPr>
          <p:cNvCxnSpPr>
            <a:cxnSpLocks/>
          </p:cNvCxnSpPr>
          <p:nvPr/>
        </p:nvCxnSpPr>
        <p:spPr>
          <a:xfrm>
            <a:off x="625813" y="3197401"/>
            <a:ext cx="23132374" cy="0"/>
          </a:xfrm>
          <a:prstGeom prst="line">
            <a:avLst/>
          </a:prstGeom>
          <a:ln w="76200">
            <a:solidFill>
              <a:srgbClr val="0054B7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Elipse 6">
            <a:extLst>
              <a:ext uri="{FF2B5EF4-FFF2-40B4-BE49-F238E27FC236}">
                <a16:creationId xmlns:a16="http://schemas.microsoft.com/office/drawing/2014/main" id="{84280942-B0B8-9BED-6730-204D5885D4DD}"/>
              </a:ext>
            </a:extLst>
          </p:cNvPr>
          <p:cNvSpPr/>
          <p:nvPr/>
        </p:nvSpPr>
        <p:spPr>
          <a:xfrm>
            <a:off x="1079647" y="2341881"/>
            <a:ext cx="1878602" cy="1803681"/>
          </a:xfrm>
          <a:prstGeom prst="ellipse">
            <a:avLst/>
          </a:prstGeom>
          <a:solidFill>
            <a:srgbClr val="0070C0"/>
          </a:solidFill>
          <a:ln>
            <a:solidFill>
              <a:srgbClr val="0054B7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57AD80AC-7775-2D7A-9B91-0308C61A7086}"/>
              </a:ext>
            </a:extLst>
          </p:cNvPr>
          <p:cNvSpPr/>
          <p:nvPr/>
        </p:nvSpPr>
        <p:spPr>
          <a:xfrm>
            <a:off x="10505650" y="2295560"/>
            <a:ext cx="1878602" cy="1803681"/>
          </a:xfrm>
          <a:prstGeom prst="ellipse">
            <a:avLst/>
          </a:prstGeom>
          <a:solidFill>
            <a:srgbClr val="0070C0"/>
          </a:solidFill>
          <a:ln>
            <a:solidFill>
              <a:srgbClr val="0054B7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5105C814-BEEB-20C5-5CB3-B8522118C4E3}"/>
              </a:ext>
            </a:extLst>
          </p:cNvPr>
          <p:cNvSpPr/>
          <p:nvPr/>
        </p:nvSpPr>
        <p:spPr>
          <a:xfrm>
            <a:off x="20192355" y="2341881"/>
            <a:ext cx="1878602" cy="1803681"/>
          </a:xfrm>
          <a:prstGeom prst="ellipse">
            <a:avLst/>
          </a:prstGeom>
          <a:solidFill>
            <a:srgbClr val="0070C0"/>
          </a:solidFill>
          <a:ln>
            <a:solidFill>
              <a:srgbClr val="0054B7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95C71145-3DF0-558C-4665-A81727E9DF65}"/>
              </a:ext>
            </a:extLst>
          </p:cNvPr>
          <p:cNvSpPr txBox="1"/>
          <p:nvPr/>
        </p:nvSpPr>
        <p:spPr>
          <a:xfrm>
            <a:off x="355854" y="4943445"/>
            <a:ext cx="376946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licativo GNDI </a:t>
            </a:r>
            <a:r>
              <a:rPr lang="pt-BR" sz="3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y</a:t>
            </a:r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pt-BR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ponível para Android e iO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CAFE4732-7860-7693-9379-C4F877B6EE8B}"/>
              </a:ext>
            </a:extLst>
          </p:cNvPr>
          <p:cNvSpPr txBox="1"/>
          <p:nvPr/>
        </p:nvSpPr>
        <p:spPr>
          <a:xfrm>
            <a:off x="8227391" y="4680538"/>
            <a:ext cx="6011695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al GNDI: </a:t>
            </a:r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gndi.com.br</a:t>
            </a:r>
            <a:endParaRPr lang="pt-BR" sz="30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se </a:t>
            </a:r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Área do Beneficiário</a:t>
            </a:r>
            <a:r>
              <a:rPr lang="pt-BR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pt-BR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e login e tenha informações completas e autosserviços disponíveis sobre os atendimentos direcionados ao seu plano contratado</a:t>
            </a:r>
            <a:endParaRPr lang="pt-BR" sz="3000" dirty="0"/>
          </a:p>
        </p:txBody>
      </p:sp>
      <p:pic>
        <p:nvPicPr>
          <p:cNvPr id="16" name="Gráfico 14">
            <a:extLst>
              <a:ext uri="{FF2B5EF4-FFF2-40B4-BE49-F238E27FC236}">
                <a16:creationId xmlns:a16="http://schemas.microsoft.com/office/drawing/2014/main" id="{14264B7A-60D6-90EE-B23E-16C6155422D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93134" y="2717907"/>
            <a:ext cx="1051628" cy="1051628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82478F06-A702-9327-963C-305155EFBB2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943400" y="2586073"/>
            <a:ext cx="1003102" cy="1025746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03020E2F-0A38-6F54-940C-87720C19569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25937" y="2875622"/>
            <a:ext cx="736197" cy="736197"/>
          </a:xfrm>
          <a:prstGeom prst="rect">
            <a:avLst/>
          </a:prstGeom>
        </p:spPr>
      </p:pic>
      <p:grpSp>
        <p:nvGrpSpPr>
          <p:cNvPr id="20" name="Agrupar 19">
            <a:extLst>
              <a:ext uri="{FF2B5EF4-FFF2-40B4-BE49-F238E27FC236}">
                <a16:creationId xmlns:a16="http://schemas.microsoft.com/office/drawing/2014/main" id="{029973E6-AA62-7E97-83ED-FEA2FEB91AB2}"/>
              </a:ext>
            </a:extLst>
          </p:cNvPr>
          <p:cNvGrpSpPr/>
          <p:nvPr/>
        </p:nvGrpSpPr>
        <p:grpSpPr>
          <a:xfrm>
            <a:off x="16537021" y="4679302"/>
            <a:ext cx="6945549" cy="6382256"/>
            <a:chOff x="-4258083" y="1476462"/>
            <a:chExt cx="5494789" cy="4282808"/>
          </a:xfrm>
        </p:grpSpPr>
        <p:pic>
          <p:nvPicPr>
            <p:cNvPr id="21" name="Imagem 20">
              <a:extLst>
                <a:ext uri="{FF2B5EF4-FFF2-40B4-BE49-F238E27FC236}">
                  <a16:creationId xmlns:a16="http://schemas.microsoft.com/office/drawing/2014/main" id="{80037DBB-04E7-EC56-4E9C-D1D6F986B0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7826" t="24005" r="29246" b="56002"/>
            <a:stretch/>
          </p:blipFill>
          <p:spPr>
            <a:xfrm>
              <a:off x="-4258083" y="1476462"/>
              <a:ext cx="5494789" cy="133385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22" name="Imagem 21">
              <a:extLst>
                <a:ext uri="{FF2B5EF4-FFF2-40B4-BE49-F238E27FC236}">
                  <a16:creationId xmlns:a16="http://schemas.microsoft.com/office/drawing/2014/main" id="{71D6632C-4206-565D-2537-2A403B1338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7883" t="47769" r="29188" b="32238"/>
            <a:stretch/>
          </p:blipFill>
          <p:spPr>
            <a:xfrm>
              <a:off x="-4258083" y="2950941"/>
              <a:ext cx="5494789" cy="1333850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23" name="Imagem 22">
              <a:extLst>
                <a:ext uri="{FF2B5EF4-FFF2-40B4-BE49-F238E27FC236}">
                  <a16:creationId xmlns:a16="http://schemas.microsoft.com/office/drawing/2014/main" id="{63A306B6-6191-B0F6-904C-EF0BCB432B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7682" t="71014" r="29389" b="8993"/>
            <a:stretch/>
          </p:blipFill>
          <p:spPr>
            <a:xfrm>
              <a:off x="-4258083" y="4425421"/>
              <a:ext cx="5494789" cy="1333849"/>
            </a:xfrm>
            <a:prstGeom prst="rect">
              <a:avLst/>
            </a:prstGeom>
            <a:ln>
              <a:noFill/>
            </a:ln>
            <a:effectLst/>
          </p:spPr>
        </p:pic>
      </p:grpSp>
      <p:pic>
        <p:nvPicPr>
          <p:cNvPr id="24" name="Imagem 23" descr="Uma imagem contendo quarto&#10;&#10;Descrição gerada automaticamente">
            <a:extLst>
              <a:ext uri="{FF2B5EF4-FFF2-40B4-BE49-F238E27FC236}">
                <a16:creationId xmlns:a16="http://schemas.microsoft.com/office/drawing/2014/main" id="{DAEF6AA0-7C88-DB24-DFB0-B61F05E6317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477" y="8352492"/>
            <a:ext cx="4704191" cy="4439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3614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893"/>
            <a:ext cx="24382413" cy="13715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308DF50-21CF-4FC1-A9B2-9AC59F89F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537454" y="-125601"/>
            <a:ext cx="18093447" cy="2651126"/>
          </a:xfrm>
        </p:spPr>
        <p:txBody>
          <a:bodyPr>
            <a:normAutofit/>
          </a:bodyPr>
          <a:lstStyle/>
          <a:p>
            <a:pPr algn="ctr"/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CANAIS DE ATENDIMENTO HAPVIDA </a:t>
            </a:r>
          </a:p>
        </p:txBody>
      </p:sp>
      <p:cxnSp>
        <p:nvCxnSpPr>
          <p:cNvPr id="6" name="Conector reto 5">
            <a:extLst>
              <a:ext uri="{FF2B5EF4-FFF2-40B4-BE49-F238E27FC236}">
                <a16:creationId xmlns:a16="http://schemas.microsoft.com/office/drawing/2014/main" id="{8AEBD303-6929-A30F-C0EF-6D55277614CC}"/>
              </a:ext>
            </a:extLst>
          </p:cNvPr>
          <p:cNvCxnSpPr>
            <a:cxnSpLocks/>
          </p:cNvCxnSpPr>
          <p:nvPr/>
        </p:nvCxnSpPr>
        <p:spPr>
          <a:xfrm>
            <a:off x="625813" y="3197401"/>
            <a:ext cx="23132374" cy="0"/>
          </a:xfrm>
          <a:prstGeom prst="line">
            <a:avLst/>
          </a:prstGeom>
          <a:ln w="76200">
            <a:solidFill>
              <a:srgbClr val="0054B7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7" name="Elipse 6">
            <a:extLst>
              <a:ext uri="{FF2B5EF4-FFF2-40B4-BE49-F238E27FC236}">
                <a16:creationId xmlns:a16="http://schemas.microsoft.com/office/drawing/2014/main" id="{84280942-B0B8-9BED-6730-204D5885D4DD}"/>
              </a:ext>
            </a:extLst>
          </p:cNvPr>
          <p:cNvSpPr/>
          <p:nvPr/>
        </p:nvSpPr>
        <p:spPr>
          <a:xfrm>
            <a:off x="1079647" y="2341881"/>
            <a:ext cx="1878602" cy="1803681"/>
          </a:xfrm>
          <a:prstGeom prst="ellipse">
            <a:avLst/>
          </a:prstGeom>
          <a:solidFill>
            <a:srgbClr val="0070C0"/>
          </a:solidFill>
          <a:ln>
            <a:solidFill>
              <a:srgbClr val="0054B7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57AD80AC-7775-2D7A-9B91-0308C61A7086}"/>
              </a:ext>
            </a:extLst>
          </p:cNvPr>
          <p:cNvSpPr/>
          <p:nvPr/>
        </p:nvSpPr>
        <p:spPr>
          <a:xfrm>
            <a:off x="10505650" y="2295560"/>
            <a:ext cx="1878602" cy="1803681"/>
          </a:xfrm>
          <a:prstGeom prst="ellipse">
            <a:avLst/>
          </a:prstGeom>
          <a:solidFill>
            <a:srgbClr val="0070C0"/>
          </a:solidFill>
          <a:ln>
            <a:solidFill>
              <a:srgbClr val="0054B7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5105C814-BEEB-20C5-5CB3-B8522118C4E3}"/>
              </a:ext>
            </a:extLst>
          </p:cNvPr>
          <p:cNvSpPr/>
          <p:nvPr/>
        </p:nvSpPr>
        <p:spPr>
          <a:xfrm>
            <a:off x="20192355" y="2341881"/>
            <a:ext cx="1878602" cy="1803681"/>
          </a:xfrm>
          <a:prstGeom prst="ellipse">
            <a:avLst/>
          </a:prstGeom>
          <a:solidFill>
            <a:srgbClr val="0070C0"/>
          </a:solidFill>
          <a:ln>
            <a:solidFill>
              <a:srgbClr val="0054B7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95C71145-3DF0-558C-4665-A81727E9DF65}"/>
              </a:ext>
            </a:extLst>
          </p:cNvPr>
          <p:cNvSpPr txBox="1"/>
          <p:nvPr/>
        </p:nvSpPr>
        <p:spPr>
          <a:xfrm>
            <a:off x="355854" y="4943445"/>
            <a:ext cx="376946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licativo </a:t>
            </a:r>
            <a:r>
              <a:rPr lang="pt-BR" sz="3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pvida</a:t>
            </a:r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pt-BR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ponível para Android e iO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CAFE4732-7860-7693-9379-C4F877B6EE8B}"/>
              </a:ext>
            </a:extLst>
          </p:cNvPr>
          <p:cNvSpPr txBox="1"/>
          <p:nvPr/>
        </p:nvSpPr>
        <p:spPr>
          <a:xfrm>
            <a:off x="8227391" y="4680538"/>
            <a:ext cx="6011695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al GNDI: www.hapvida.com.br</a:t>
            </a:r>
          </a:p>
          <a:p>
            <a:r>
              <a:rPr lang="pt-BR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se </a:t>
            </a:r>
            <a:r>
              <a:rPr lang="pt-BR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Área do Cliente</a:t>
            </a:r>
            <a:r>
              <a:rPr lang="pt-BR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pt-BR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e login e tenha informações completas e autosserviços disponíveis sobre os atendimentos direcionados ao seu plano contratado</a:t>
            </a:r>
            <a:endParaRPr lang="pt-BR" sz="3000" dirty="0"/>
          </a:p>
        </p:txBody>
      </p:sp>
      <p:pic>
        <p:nvPicPr>
          <p:cNvPr id="16" name="Gráfico 14">
            <a:extLst>
              <a:ext uri="{FF2B5EF4-FFF2-40B4-BE49-F238E27FC236}">
                <a16:creationId xmlns:a16="http://schemas.microsoft.com/office/drawing/2014/main" id="{14264B7A-60D6-90EE-B23E-16C6155422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3134" y="2717907"/>
            <a:ext cx="1051628" cy="1051628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82478F06-A702-9327-963C-305155EFBB22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943400" y="2586073"/>
            <a:ext cx="1003102" cy="1025746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03020E2F-0A38-6F54-940C-87720C19569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25937" y="2875622"/>
            <a:ext cx="736197" cy="736197"/>
          </a:xfrm>
          <a:prstGeom prst="rect">
            <a:avLst/>
          </a:prstGeom>
        </p:spPr>
      </p:pic>
      <p:pic>
        <p:nvPicPr>
          <p:cNvPr id="24" name="Imagem 23" descr="Uma imagem contendo quarto&#10;&#10;Descrição gerada automaticamente">
            <a:extLst>
              <a:ext uri="{FF2B5EF4-FFF2-40B4-BE49-F238E27FC236}">
                <a16:creationId xmlns:a16="http://schemas.microsoft.com/office/drawing/2014/main" id="{DAEF6AA0-7C88-DB24-DFB0-B61F05E6317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477" y="8352492"/>
            <a:ext cx="4704191" cy="4439314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C43B27A3-2573-C2C4-F265-CD2FADA9DE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058937" y="4467339"/>
            <a:ext cx="5334000" cy="7079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8240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imeline&#10;&#10;Description automatically generated with medium confidence">
            <a:extLst>
              <a:ext uri="{FF2B5EF4-FFF2-40B4-BE49-F238E27FC236}">
                <a16:creationId xmlns:a16="http://schemas.microsoft.com/office/drawing/2014/main" id="{01153DC9-2CF6-87D7-6907-8394587E1E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952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308DF50-21CF-4FC1-A9B2-9AC59F89F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7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Hapvida</a:t>
            </a: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 e </a:t>
            </a:r>
            <a:r>
              <a:rPr lang="pt-BR" sz="7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NotreDame</a:t>
            </a: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 Intermédica:</a:t>
            </a:r>
            <a:b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</a:b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Complementariedade</a:t>
            </a:r>
          </a:p>
        </p:txBody>
      </p:sp>
      <p:grpSp>
        <p:nvGrpSpPr>
          <p:cNvPr id="72" name="Agrupar 71">
            <a:extLst>
              <a:ext uri="{FF2B5EF4-FFF2-40B4-BE49-F238E27FC236}">
                <a16:creationId xmlns:a16="http://schemas.microsoft.com/office/drawing/2014/main" id="{169F0F8A-DB40-6FA3-D528-7473118432F6}"/>
              </a:ext>
            </a:extLst>
          </p:cNvPr>
          <p:cNvGrpSpPr/>
          <p:nvPr/>
        </p:nvGrpSpPr>
        <p:grpSpPr>
          <a:xfrm>
            <a:off x="2902735" y="3381378"/>
            <a:ext cx="9581228" cy="9198591"/>
            <a:chOff x="2925597" y="384875"/>
            <a:chExt cx="6340805" cy="60882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3" name="Freeform 113">
              <a:extLst>
                <a:ext uri="{FF2B5EF4-FFF2-40B4-BE49-F238E27FC236}">
                  <a16:creationId xmlns:a16="http://schemas.microsoft.com/office/drawing/2014/main" id="{428F273A-5286-12FC-FA34-F27BAFF90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0306" y="2671634"/>
              <a:ext cx="475861" cy="299038"/>
            </a:xfrm>
            <a:custGeom>
              <a:avLst/>
              <a:gdLst>
                <a:gd name="T0" fmla="*/ 16952679 w 48"/>
                <a:gd name="T1" fmla="*/ 1431750 h 31"/>
                <a:gd name="T2" fmla="*/ 12735956 w 48"/>
                <a:gd name="T3" fmla="*/ 1431750 h 31"/>
                <a:gd name="T4" fmla="*/ 10229606 w 48"/>
                <a:gd name="T5" fmla="*/ 1431750 h 31"/>
                <a:gd name="T6" fmla="*/ 5652130 w 48"/>
                <a:gd name="T7" fmla="*/ 3136515 h 31"/>
                <a:gd name="T8" fmla="*/ 3867884 w 48"/>
                <a:gd name="T9" fmla="*/ 1777747 h 31"/>
                <a:gd name="T10" fmla="*/ 3142882 w 48"/>
                <a:gd name="T11" fmla="*/ 0 h 31"/>
                <a:gd name="T12" fmla="*/ 0 w 48"/>
                <a:gd name="T13" fmla="*/ 1777747 h 31"/>
                <a:gd name="T14" fmla="*/ 1781243 w 48"/>
                <a:gd name="T15" fmla="*/ 3496712 h 31"/>
                <a:gd name="T16" fmla="*/ 7433253 w 48"/>
                <a:gd name="T17" fmla="*/ 6706183 h 31"/>
                <a:gd name="T18" fmla="*/ 9158667 w 48"/>
                <a:gd name="T19" fmla="*/ 10911952 h 31"/>
                <a:gd name="T20" fmla="*/ 16952679 w 48"/>
                <a:gd name="T21" fmla="*/ 1431750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31"/>
                <a:gd name="T35" fmla="*/ 48 w 48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31">
                  <a:moveTo>
                    <a:pt x="48" y="4"/>
                  </a:moveTo>
                  <a:lnTo>
                    <a:pt x="36" y="4"/>
                  </a:lnTo>
                  <a:lnTo>
                    <a:pt x="29" y="4"/>
                  </a:lnTo>
                  <a:lnTo>
                    <a:pt x="16" y="9"/>
                  </a:lnTo>
                  <a:lnTo>
                    <a:pt x="11" y="5"/>
                  </a:lnTo>
                  <a:lnTo>
                    <a:pt x="9" y="0"/>
                  </a:lnTo>
                  <a:lnTo>
                    <a:pt x="0" y="5"/>
                  </a:lnTo>
                  <a:lnTo>
                    <a:pt x="5" y="10"/>
                  </a:lnTo>
                  <a:lnTo>
                    <a:pt x="21" y="19"/>
                  </a:lnTo>
                  <a:lnTo>
                    <a:pt x="26" y="31"/>
                  </a:lnTo>
                  <a:lnTo>
                    <a:pt x="48" y="4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4" name="Freeform 114">
              <a:extLst>
                <a:ext uri="{FF2B5EF4-FFF2-40B4-BE49-F238E27FC236}">
                  <a16:creationId xmlns:a16="http://schemas.microsoft.com/office/drawing/2014/main" id="{6E182349-A202-6DDC-0EE5-085313BE2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4364" y="2382368"/>
              <a:ext cx="1021999" cy="377218"/>
            </a:xfrm>
            <a:custGeom>
              <a:avLst/>
              <a:gdLst>
                <a:gd name="T0" fmla="*/ 12817372 w 103"/>
                <a:gd name="T1" fmla="*/ 3276467 h 39"/>
                <a:gd name="T2" fmla="*/ 11010393 w 103"/>
                <a:gd name="T3" fmla="*/ 1454448 h 39"/>
                <a:gd name="T4" fmla="*/ 4252823 w 103"/>
                <a:gd name="T5" fmla="*/ 0 h 39"/>
                <a:gd name="T6" fmla="*/ 4252823 w 103"/>
                <a:gd name="T7" fmla="*/ 3276467 h 39"/>
                <a:gd name="T8" fmla="*/ 2882250 w 103"/>
                <a:gd name="T9" fmla="*/ 7197653 h 39"/>
                <a:gd name="T10" fmla="*/ 1078887 w 103"/>
                <a:gd name="T11" fmla="*/ 6829349 h 39"/>
                <a:gd name="T12" fmla="*/ 0 w 103"/>
                <a:gd name="T13" fmla="*/ 8651981 h 39"/>
                <a:gd name="T14" fmla="*/ 1441419 w 103"/>
                <a:gd name="T15" fmla="*/ 8651981 h 39"/>
                <a:gd name="T16" fmla="*/ 1078887 w 103"/>
                <a:gd name="T17" fmla="*/ 10749942 h 39"/>
                <a:gd name="T18" fmla="*/ 2882250 w 103"/>
                <a:gd name="T19" fmla="*/ 12204271 h 39"/>
                <a:gd name="T20" fmla="*/ 4252823 w 103"/>
                <a:gd name="T21" fmla="*/ 12204271 h 39"/>
                <a:gd name="T22" fmla="*/ 6044949 w 103"/>
                <a:gd name="T23" fmla="*/ 10749942 h 39"/>
                <a:gd name="T24" fmla="*/ 7851310 w 103"/>
                <a:gd name="T25" fmla="*/ 10749942 h 39"/>
                <a:gd name="T26" fmla="*/ 11010393 w 103"/>
                <a:gd name="T27" fmla="*/ 7565243 h 39"/>
                <a:gd name="T28" fmla="*/ 14243353 w 103"/>
                <a:gd name="T29" fmla="*/ 10749942 h 39"/>
                <a:gd name="T30" fmla="*/ 15976324 w 103"/>
                <a:gd name="T31" fmla="*/ 10749942 h 39"/>
                <a:gd name="T32" fmla="*/ 17783422 w 103"/>
                <a:gd name="T33" fmla="*/ 12204271 h 39"/>
                <a:gd name="T34" fmla="*/ 21016367 w 103"/>
                <a:gd name="T35" fmla="*/ 10749942 h 39"/>
                <a:gd name="T36" fmla="*/ 21655730 w 103"/>
                <a:gd name="T37" fmla="*/ 12204271 h 39"/>
                <a:gd name="T38" fmla="*/ 23462096 w 103"/>
                <a:gd name="T39" fmla="*/ 14027002 h 39"/>
                <a:gd name="T40" fmla="*/ 28065629 w 103"/>
                <a:gd name="T41" fmla="*/ 12204271 h 39"/>
                <a:gd name="T42" fmla="*/ 34838055 w 103"/>
                <a:gd name="T43" fmla="*/ 12204271 h 39"/>
                <a:gd name="T44" fmla="*/ 36279463 w 103"/>
                <a:gd name="T45" fmla="*/ 7565243 h 39"/>
                <a:gd name="T46" fmla="*/ 36627145 w 103"/>
                <a:gd name="T47" fmla="*/ 2172269 h 39"/>
                <a:gd name="T48" fmla="*/ 33105538 w 103"/>
                <a:gd name="T49" fmla="*/ 3276467 h 39"/>
                <a:gd name="T50" fmla="*/ 26695164 w 103"/>
                <a:gd name="T51" fmla="*/ 5743225 h 39"/>
                <a:gd name="T52" fmla="*/ 24903643 w 103"/>
                <a:gd name="T53" fmla="*/ 7565243 h 39"/>
                <a:gd name="T54" fmla="*/ 23462096 w 103"/>
                <a:gd name="T55" fmla="*/ 7565243 h 39"/>
                <a:gd name="T56" fmla="*/ 23462096 w 103"/>
                <a:gd name="T57" fmla="*/ 5743225 h 39"/>
                <a:gd name="T58" fmla="*/ 24903643 w 103"/>
                <a:gd name="T59" fmla="*/ 1454448 h 39"/>
                <a:gd name="T60" fmla="*/ 23462096 w 103"/>
                <a:gd name="T61" fmla="*/ 1454448 h 39"/>
                <a:gd name="T62" fmla="*/ 20650821 w 103"/>
                <a:gd name="T63" fmla="*/ 3276467 h 39"/>
                <a:gd name="T64" fmla="*/ 12817372 w 103"/>
                <a:gd name="T65" fmla="*/ 3276467 h 3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3"/>
                <a:gd name="T100" fmla="*/ 0 h 39"/>
                <a:gd name="T101" fmla="*/ 103 w 103"/>
                <a:gd name="T102" fmla="*/ 39 h 3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3" h="39">
                  <a:moveTo>
                    <a:pt x="36" y="9"/>
                  </a:moveTo>
                  <a:lnTo>
                    <a:pt x="31" y="4"/>
                  </a:lnTo>
                  <a:lnTo>
                    <a:pt x="12" y="0"/>
                  </a:lnTo>
                  <a:lnTo>
                    <a:pt x="12" y="9"/>
                  </a:lnTo>
                  <a:lnTo>
                    <a:pt x="8" y="20"/>
                  </a:lnTo>
                  <a:lnTo>
                    <a:pt x="3" y="19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3" y="30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7" y="30"/>
                  </a:lnTo>
                  <a:lnTo>
                    <a:pt x="22" y="30"/>
                  </a:lnTo>
                  <a:lnTo>
                    <a:pt x="31" y="21"/>
                  </a:lnTo>
                  <a:lnTo>
                    <a:pt x="40" y="30"/>
                  </a:lnTo>
                  <a:lnTo>
                    <a:pt x="45" y="30"/>
                  </a:lnTo>
                  <a:lnTo>
                    <a:pt x="50" y="34"/>
                  </a:lnTo>
                  <a:lnTo>
                    <a:pt x="59" y="30"/>
                  </a:lnTo>
                  <a:lnTo>
                    <a:pt x="61" y="34"/>
                  </a:lnTo>
                  <a:lnTo>
                    <a:pt x="66" y="39"/>
                  </a:lnTo>
                  <a:lnTo>
                    <a:pt x="79" y="34"/>
                  </a:lnTo>
                  <a:lnTo>
                    <a:pt x="98" y="34"/>
                  </a:lnTo>
                  <a:lnTo>
                    <a:pt x="102" y="21"/>
                  </a:lnTo>
                  <a:lnTo>
                    <a:pt x="103" y="6"/>
                  </a:lnTo>
                  <a:lnTo>
                    <a:pt x="93" y="9"/>
                  </a:lnTo>
                  <a:lnTo>
                    <a:pt x="75" y="16"/>
                  </a:lnTo>
                  <a:lnTo>
                    <a:pt x="70" y="21"/>
                  </a:lnTo>
                  <a:lnTo>
                    <a:pt x="66" y="21"/>
                  </a:lnTo>
                  <a:lnTo>
                    <a:pt x="66" y="16"/>
                  </a:lnTo>
                  <a:lnTo>
                    <a:pt x="70" y="4"/>
                  </a:lnTo>
                  <a:lnTo>
                    <a:pt x="66" y="4"/>
                  </a:lnTo>
                  <a:lnTo>
                    <a:pt x="58" y="9"/>
                  </a:lnTo>
                  <a:lnTo>
                    <a:pt x="36" y="9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5" name="Freeform 115">
              <a:extLst>
                <a:ext uri="{FF2B5EF4-FFF2-40B4-BE49-F238E27FC236}">
                  <a16:creationId xmlns:a16="http://schemas.microsoft.com/office/drawing/2014/main" id="{A8337BD9-C926-E749-1D8B-1F65409146C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324" y="1665069"/>
              <a:ext cx="674639" cy="805251"/>
            </a:xfrm>
            <a:custGeom>
              <a:avLst/>
              <a:gdLst>
                <a:gd name="T0" fmla="*/ 24158854 w 68"/>
                <a:gd name="T1" fmla="*/ 12551685 h 83"/>
                <a:gd name="T2" fmla="*/ 22005668 w 68"/>
                <a:gd name="T3" fmla="*/ 12551685 h 83"/>
                <a:gd name="T4" fmla="*/ 19922958 w 68"/>
                <a:gd name="T5" fmla="*/ 9574333 h 83"/>
                <a:gd name="T6" fmla="*/ 11717031 w 68"/>
                <a:gd name="T7" fmla="*/ 4083515 h 83"/>
                <a:gd name="T8" fmla="*/ 6753911 w 68"/>
                <a:gd name="T9" fmla="*/ 0 h 83"/>
                <a:gd name="T10" fmla="*/ 1440205 w 68"/>
                <a:gd name="T11" fmla="*/ 2229932 h 83"/>
                <a:gd name="T12" fmla="*/ 0 w 68"/>
                <a:gd name="T13" fmla="*/ 3710124 h 83"/>
                <a:gd name="T14" fmla="*/ 1805629 w 68"/>
                <a:gd name="T15" fmla="*/ 9574333 h 83"/>
                <a:gd name="T16" fmla="*/ 1805629 w 68"/>
                <a:gd name="T17" fmla="*/ 11069061 h 83"/>
                <a:gd name="T18" fmla="*/ 1805629 w 68"/>
                <a:gd name="T19" fmla="*/ 12551685 h 83"/>
                <a:gd name="T20" fmla="*/ 1805629 w 68"/>
                <a:gd name="T21" fmla="*/ 16186466 h 83"/>
                <a:gd name="T22" fmla="*/ 3157501 w 68"/>
                <a:gd name="T23" fmla="*/ 22126606 h 83"/>
                <a:gd name="T24" fmla="*/ 4963124 w 68"/>
                <a:gd name="T25" fmla="*/ 25474209 h 83"/>
                <a:gd name="T26" fmla="*/ 4963124 w 68"/>
                <a:gd name="T27" fmla="*/ 27255498 h 83"/>
                <a:gd name="T28" fmla="*/ 11717031 w 68"/>
                <a:gd name="T29" fmla="*/ 28738121 h 83"/>
                <a:gd name="T30" fmla="*/ 13519631 w 68"/>
                <a:gd name="T31" fmla="*/ 30591704 h 83"/>
                <a:gd name="T32" fmla="*/ 16680154 w 68"/>
                <a:gd name="T33" fmla="*/ 30591704 h 83"/>
                <a:gd name="T34" fmla="*/ 16680154 w 68"/>
                <a:gd name="T35" fmla="*/ 28738121 h 83"/>
                <a:gd name="T36" fmla="*/ 16680154 w 68"/>
                <a:gd name="T37" fmla="*/ 25474209 h 83"/>
                <a:gd name="T38" fmla="*/ 16680154 w 68"/>
                <a:gd name="T39" fmla="*/ 23979473 h 83"/>
                <a:gd name="T40" fmla="*/ 18120358 w 68"/>
                <a:gd name="T41" fmla="*/ 20269971 h 83"/>
                <a:gd name="T42" fmla="*/ 24158854 w 68"/>
                <a:gd name="T43" fmla="*/ 12551685 h 8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8"/>
                <a:gd name="T67" fmla="*/ 0 h 83"/>
                <a:gd name="T68" fmla="*/ 68 w 68"/>
                <a:gd name="T69" fmla="*/ 83 h 8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8" h="83">
                  <a:moveTo>
                    <a:pt x="68" y="34"/>
                  </a:moveTo>
                  <a:lnTo>
                    <a:pt x="62" y="34"/>
                  </a:lnTo>
                  <a:lnTo>
                    <a:pt x="56" y="26"/>
                  </a:lnTo>
                  <a:lnTo>
                    <a:pt x="33" y="11"/>
                  </a:lnTo>
                  <a:lnTo>
                    <a:pt x="19" y="0"/>
                  </a:lnTo>
                  <a:lnTo>
                    <a:pt x="4" y="6"/>
                  </a:lnTo>
                  <a:lnTo>
                    <a:pt x="0" y="10"/>
                  </a:lnTo>
                  <a:lnTo>
                    <a:pt x="5" y="26"/>
                  </a:lnTo>
                  <a:lnTo>
                    <a:pt x="5" y="30"/>
                  </a:lnTo>
                  <a:lnTo>
                    <a:pt x="5" y="34"/>
                  </a:lnTo>
                  <a:lnTo>
                    <a:pt x="5" y="44"/>
                  </a:lnTo>
                  <a:lnTo>
                    <a:pt x="9" y="60"/>
                  </a:lnTo>
                  <a:lnTo>
                    <a:pt x="14" y="69"/>
                  </a:lnTo>
                  <a:lnTo>
                    <a:pt x="14" y="74"/>
                  </a:lnTo>
                  <a:lnTo>
                    <a:pt x="33" y="78"/>
                  </a:lnTo>
                  <a:lnTo>
                    <a:pt x="38" y="83"/>
                  </a:lnTo>
                  <a:lnTo>
                    <a:pt x="47" y="83"/>
                  </a:lnTo>
                  <a:lnTo>
                    <a:pt x="47" y="78"/>
                  </a:lnTo>
                  <a:lnTo>
                    <a:pt x="47" y="69"/>
                  </a:lnTo>
                  <a:lnTo>
                    <a:pt x="47" y="65"/>
                  </a:lnTo>
                  <a:lnTo>
                    <a:pt x="51" y="55"/>
                  </a:lnTo>
                  <a:lnTo>
                    <a:pt x="68" y="34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Freeform 116">
              <a:extLst>
                <a:ext uri="{FF2B5EF4-FFF2-40B4-BE49-F238E27FC236}">
                  <a16:creationId xmlns:a16="http://schemas.microsoft.com/office/drawing/2014/main" id="{66311FFA-0CEA-68CA-0FB6-983634E83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0149" y="1997332"/>
              <a:ext cx="566214" cy="385036"/>
            </a:xfrm>
            <a:custGeom>
              <a:avLst/>
              <a:gdLst>
                <a:gd name="T0" fmla="*/ 3269296 w 57"/>
                <a:gd name="T1" fmla="*/ 10402359 h 40"/>
                <a:gd name="T2" fmla="*/ 0 w 57"/>
                <a:gd name="T3" fmla="*/ 10402359 h 40"/>
                <a:gd name="T4" fmla="*/ 1817010 w 57"/>
                <a:gd name="T5" fmla="*/ 7235381 h 40"/>
                <a:gd name="T6" fmla="*/ 7184381 w 57"/>
                <a:gd name="T7" fmla="*/ 0 h 40"/>
                <a:gd name="T8" fmla="*/ 8989418 w 57"/>
                <a:gd name="T9" fmla="*/ 1756156 h 40"/>
                <a:gd name="T10" fmla="*/ 12185083 w 57"/>
                <a:gd name="T11" fmla="*/ 3097564 h 40"/>
                <a:gd name="T12" fmla="*/ 17200071 w 57"/>
                <a:gd name="T13" fmla="*/ 3097564 h 40"/>
                <a:gd name="T14" fmla="*/ 19005108 w 57"/>
                <a:gd name="T15" fmla="*/ 5551505 h 40"/>
                <a:gd name="T16" fmla="*/ 20457398 w 57"/>
                <a:gd name="T17" fmla="*/ 10402359 h 40"/>
                <a:gd name="T18" fmla="*/ 12185083 w 57"/>
                <a:gd name="T19" fmla="*/ 10402359 h 40"/>
                <a:gd name="T20" fmla="*/ 10732190 w 57"/>
                <a:gd name="T21" fmla="*/ 12085527 h 40"/>
                <a:gd name="T22" fmla="*/ 10732190 w 57"/>
                <a:gd name="T23" fmla="*/ 13841712 h 40"/>
                <a:gd name="T24" fmla="*/ 8989418 w 57"/>
                <a:gd name="T25" fmla="*/ 12085527 h 40"/>
                <a:gd name="T26" fmla="*/ 5732116 w 57"/>
                <a:gd name="T27" fmla="*/ 12085527 h 40"/>
                <a:gd name="T28" fmla="*/ 5732116 w 57"/>
                <a:gd name="T29" fmla="*/ 10402359 h 40"/>
                <a:gd name="T30" fmla="*/ 7184381 w 57"/>
                <a:gd name="T31" fmla="*/ 8990951 h 40"/>
                <a:gd name="T32" fmla="*/ 7184381 w 57"/>
                <a:gd name="T33" fmla="*/ 7235381 h 40"/>
                <a:gd name="T34" fmla="*/ 5000097 w 57"/>
                <a:gd name="T35" fmla="*/ 8990951 h 40"/>
                <a:gd name="T36" fmla="*/ 3269296 w 57"/>
                <a:gd name="T37" fmla="*/ 10402359 h 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7"/>
                <a:gd name="T58" fmla="*/ 0 h 40"/>
                <a:gd name="T59" fmla="*/ 57 w 57"/>
                <a:gd name="T60" fmla="*/ 40 h 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7" h="40">
                  <a:moveTo>
                    <a:pt x="9" y="30"/>
                  </a:moveTo>
                  <a:lnTo>
                    <a:pt x="0" y="30"/>
                  </a:lnTo>
                  <a:lnTo>
                    <a:pt x="5" y="21"/>
                  </a:lnTo>
                  <a:lnTo>
                    <a:pt x="20" y="0"/>
                  </a:lnTo>
                  <a:lnTo>
                    <a:pt x="25" y="5"/>
                  </a:lnTo>
                  <a:lnTo>
                    <a:pt x="34" y="9"/>
                  </a:lnTo>
                  <a:lnTo>
                    <a:pt x="48" y="9"/>
                  </a:lnTo>
                  <a:lnTo>
                    <a:pt x="53" y="16"/>
                  </a:lnTo>
                  <a:lnTo>
                    <a:pt x="57" y="30"/>
                  </a:lnTo>
                  <a:cubicBezTo>
                    <a:pt x="50" y="30"/>
                    <a:pt x="41" y="30"/>
                    <a:pt x="34" y="30"/>
                  </a:cubicBezTo>
                  <a:lnTo>
                    <a:pt x="30" y="35"/>
                  </a:lnTo>
                  <a:lnTo>
                    <a:pt x="30" y="40"/>
                  </a:lnTo>
                  <a:lnTo>
                    <a:pt x="25" y="35"/>
                  </a:lnTo>
                  <a:lnTo>
                    <a:pt x="16" y="35"/>
                  </a:lnTo>
                  <a:lnTo>
                    <a:pt x="16" y="30"/>
                  </a:lnTo>
                  <a:lnTo>
                    <a:pt x="20" y="26"/>
                  </a:lnTo>
                  <a:lnTo>
                    <a:pt x="20" y="21"/>
                  </a:lnTo>
                  <a:lnTo>
                    <a:pt x="14" y="26"/>
                  </a:lnTo>
                  <a:lnTo>
                    <a:pt x="9" y="30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7" name="Freeform 117">
              <a:extLst>
                <a:ext uri="{FF2B5EF4-FFF2-40B4-BE49-F238E27FC236}">
                  <a16:creationId xmlns:a16="http://schemas.microsoft.com/office/drawing/2014/main" id="{4D3B566C-A514-C9BD-21CA-A37923831F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4030" y="4737535"/>
              <a:ext cx="959755" cy="674300"/>
            </a:xfrm>
            <a:custGeom>
              <a:avLst/>
              <a:gdLst>
                <a:gd name="T0" fmla="*/ 32319226 w 97"/>
                <a:gd name="T1" fmla="*/ 18431208 h 70"/>
                <a:gd name="T2" fmla="*/ 31961899 w 97"/>
                <a:gd name="T3" fmla="*/ 20208440 h 70"/>
                <a:gd name="T4" fmla="*/ 29213311 w 97"/>
                <a:gd name="T5" fmla="*/ 20208440 h 70"/>
                <a:gd name="T6" fmla="*/ 25760595 w 97"/>
                <a:gd name="T7" fmla="*/ 22601620 h 70"/>
                <a:gd name="T8" fmla="*/ 25760595 w 97"/>
                <a:gd name="T9" fmla="*/ 20208440 h 70"/>
                <a:gd name="T10" fmla="*/ 24342443 w 97"/>
                <a:gd name="T11" fmla="*/ 20208440 h 70"/>
                <a:gd name="T12" fmla="*/ 22581689 w 97"/>
                <a:gd name="T13" fmla="*/ 20208440 h 70"/>
                <a:gd name="T14" fmla="*/ 20893334 w 97"/>
                <a:gd name="T15" fmla="*/ 20208440 h 70"/>
                <a:gd name="T16" fmla="*/ 19475168 w 97"/>
                <a:gd name="T17" fmla="*/ 22601620 h 70"/>
                <a:gd name="T18" fmla="*/ 17714295 w 97"/>
                <a:gd name="T19" fmla="*/ 22601620 h 70"/>
                <a:gd name="T20" fmla="*/ 17714295 w 97"/>
                <a:gd name="T21" fmla="*/ 24366994 h 70"/>
                <a:gd name="T22" fmla="*/ 16023063 w 97"/>
                <a:gd name="T23" fmla="*/ 24366994 h 70"/>
                <a:gd name="T24" fmla="*/ 12844038 w 97"/>
                <a:gd name="T25" fmla="*/ 22601620 h 70"/>
                <a:gd name="T26" fmla="*/ 9737535 w 97"/>
                <a:gd name="T27" fmla="*/ 22601620 h 70"/>
                <a:gd name="T28" fmla="*/ 6631137 w 97"/>
                <a:gd name="T29" fmla="*/ 22601620 h 70"/>
                <a:gd name="T30" fmla="*/ 4867277 w 97"/>
                <a:gd name="T31" fmla="*/ 22601620 h 70"/>
                <a:gd name="T32" fmla="*/ 3106522 w 97"/>
                <a:gd name="T33" fmla="*/ 18431208 h 70"/>
                <a:gd name="T34" fmla="*/ 0 w 97"/>
                <a:gd name="T35" fmla="*/ 18431208 h 70"/>
                <a:gd name="T36" fmla="*/ 0 w 97"/>
                <a:gd name="T37" fmla="*/ 13557454 h 70"/>
                <a:gd name="T38" fmla="*/ 1760873 w 97"/>
                <a:gd name="T39" fmla="*/ 12225705 h 70"/>
                <a:gd name="T40" fmla="*/ 1760873 w 97"/>
                <a:gd name="T41" fmla="*/ 9044174 h 70"/>
                <a:gd name="T42" fmla="*/ 3106522 w 97"/>
                <a:gd name="T43" fmla="*/ 9044174 h 70"/>
                <a:gd name="T44" fmla="*/ 3106522 w 97"/>
                <a:gd name="T45" fmla="*/ 4873755 h 70"/>
                <a:gd name="T46" fmla="*/ 4867277 w 97"/>
                <a:gd name="T47" fmla="*/ 3454736 h 70"/>
                <a:gd name="T48" fmla="*/ 7976785 w 97"/>
                <a:gd name="T49" fmla="*/ 0 h 70"/>
                <a:gd name="T50" fmla="*/ 9737535 w 97"/>
                <a:gd name="T51" fmla="*/ 0 h 70"/>
                <a:gd name="T52" fmla="*/ 12844038 w 97"/>
                <a:gd name="T53" fmla="*/ 1762491 h 70"/>
                <a:gd name="T54" fmla="*/ 14604911 w 97"/>
                <a:gd name="T55" fmla="*/ 1762491 h 70"/>
                <a:gd name="T56" fmla="*/ 17714295 w 97"/>
                <a:gd name="T57" fmla="*/ 1762491 h 70"/>
                <a:gd name="T58" fmla="*/ 20893334 w 97"/>
                <a:gd name="T59" fmla="*/ 3454736 h 70"/>
                <a:gd name="T60" fmla="*/ 24342443 w 97"/>
                <a:gd name="T61" fmla="*/ 3454736 h 70"/>
                <a:gd name="T62" fmla="*/ 25760595 w 97"/>
                <a:gd name="T63" fmla="*/ 4873755 h 70"/>
                <a:gd name="T64" fmla="*/ 27451945 w 97"/>
                <a:gd name="T65" fmla="*/ 9044174 h 70"/>
                <a:gd name="T66" fmla="*/ 28855392 w 97"/>
                <a:gd name="T67" fmla="*/ 10448473 h 70"/>
                <a:gd name="T68" fmla="*/ 27091642 w 97"/>
                <a:gd name="T69" fmla="*/ 12225705 h 70"/>
                <a:gd name="T70" fmla="*/ 28855392 w 97"/>
                <a:gd name="T71" fmla="*/ 11867487 h 70"/>
                <a:gd name="T72" fmla="*/ 31961899 w 97"/>
                <a:gd name="T73" fmla="*/ 13557454 h 70"/>
                <a:gd name="T74" fmla="*/ 31961899 w 97"/>
                <a:gd name="T75" fmla="*/ 15322838 h 70"/>
                <a:gd name="T76" fmla="*/ 33737377 w 97"/>
                <a:gd name="T77" fmla="*/ 13557454 h 70"/>
                <a:gd name="T78" fmla="*/ 33737377 w 97"/>
                <a:gd name="T79" fmla="*/ 17026911 h 70"/>
                <a:gd name="T80" fmla="*/ 30974065 w 97"/>
                <a:gd name="T81" fmla="*/ 17026911 h 70"/>
                <a:gd name="T82" fmla="*/ 32319226 w 97"/>
                <a:gd name="T83" fmla="*/ 18431208 h 7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7"/>
                <a:gd name="T127" fmla="*/ 0 h 70"/>
                <a:gd name="T128" fmla="*/ 97 w 97"/>
                <a:gd name="T129" fmla="*/ 70 h 7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7" h="70">
                  <a:moveTo>
                    <a:pt x="93" y="53"/>
                  </a:moveTo>
                  <a:lnTo>
                    <a:pt x="92" y="58"/>
                  </a:lnTo>
                  <a:lnTo>
                    <a:pt x="84" y="58"/>
                  </a:lnTo>
                  <a:lnTo>
                    <a:pt x="74" y="65"/>
                  </a:lnTo>
                  <a:lnTo>
                    <a:pt x="74" y="58"/>
                  </a:lnTo>
                  <a:lnTo>
                    <a:pt x="70" y="58"/>
                  </a:lnTo>
                  <a:lnTo>
                    <a:pt x="65" y="58"/>
                  </a:lnTo>
                  <a:lnTo>
                    <a:pt x="60" y="58"/>
                  </a:lnTo>
                  <a:lnTo>
                    <a:pt x="56" y="65"/>
                  </a:lnTo>
                  <a:lnTo>
                    <a:pt x="51" y="65"/>
                  </a:lnTo>
                  <a:lnTo>
                    <a:pt x="51" y="70"/>
                  </a:lnTo>
                  <a:lnTo>
                    <a:pt x="46" y="70"/>
                  </a:lnTo>
                  <a:lnTo>
                    <a:pt x="37" y="65"/>
                  </a:lnTo>
                  <a:lnTo>
                    <a:pt x="28" y="65"/>
                  </a:lnTo>
                  <a:lnTo>
                    <a:pt x="19" y="65"/>
                  </a:lnTo>
                  <a:lnTo>
                    <a:pt x="14" y="65"/>
                  </a:lnTo>
                  <a:lnTo>
                    <a:pt x="9" y="53"/>
                  </a:lnTo>
                  <a:lnTo>
                    <a:pt x="0" y="53"/>
                  </a:lnTo>
                  <a:lnTo>
                    <a:pt x="0" y="39"/>
                  </a:lnTo>
                  <a:lnTo>
                    <a:pt x="5" y="35"/>
                  </a:lnTo>
                  <a:lnTo>
                    <a:pt x="5" y="26"/>
                  </a:lnTo>
                  <a:lnTo>
                    <a:pt x="9" y="26"/>
                  </a:lnTo>
                  <a:lnTo>
                    <a:pt x="9" y="14"/>
                  </a:lnTo>
                  <a:lnTo>
                    <a:pt x="14" y="10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37" y="5"/>
                  </a:lnTo>
                  <a:lnTo>
                    <a:pt x="42" y="5"/>
                  </a:lnTo>
                  <a:lnTo>
                    <a:pt x="51" y="5"/>
                  </a:lnTo>
                  <a:lnTo>
                    <a:pt x="60" y="10"/>
                  </a:lnTo>
                  <a:lnTo>
                    <a:pt x="70" y="10"/>
                  </a:lnTo>
                  <a:lnTo>
                    <a:pt x="74" y="14"/>
                  </a:lnTo>
                  <a:lnTo>
                    <a:pt x="79" y="26"/>
                  </a:lnTo>
                  <a:lnTo>
                    <a:pt x="83" y="30"/>
                  </a:lnTo>
                  <a:lnTo>
                    <a:pt x="78" y="35"/>
                  </a:lnTo>
                  <a:lnTo>
                    <a:pt x="83" y="34"/>
                  </a:lnTo>
                  <a:lnTo>
                    <a:pt x="92" y="39"/>
                  </a:lnTo>
                  <a:lnTo>
                    <a:pt x="92" y="44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89" y="49"/>
                  </a:lnTo>
                  <a:lnTo>
                    <a:pt x="93" y="53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8" name="Freeform 118">
              <a:extLst>
                <a:ext uri="{FF2B5EF4-FFF2-40B4-BE49-F238E27FC236}">
                  <a16:creationId xmlns:a16="http://schemas.microsoft.com/office/drawing/2014/main" id="{FE648399-7F95-DE61-F43D-843DCF266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328" y="5298474"/>
              <a:ext cx="833260" cy="529668"/>
            </a:xfrm>
            <a:custGeom>
              <a:avLst/>
              <a:gdLst>
                <a:gd name="T0" fmla="*/ 0 w 84"/>
                <a:gd name="T1" fmla="*/ 6984641 h 55"/>
                <a:gd name="T2" fmla="*/ 2151301 w 84"/>
                <a:gd name="T3" fmla="*/ 5221718 h 55"/>
                <a:gd name="T4" fmla="*/ 2151301 w 84"/>
                <a:gd name="T5" fmla="*/ 2404810 h 55"/>
                <a:gd name="T6" fmla="*/ 10628448 w 84"/>
                <a:gd name="T7" fmla="*/ 2404810 h 55"/>
                <a:gd name="T8" fmla="*/ 13510137 w 84"/>
                <a:gd name="T9" fmla="*/ 4164846 h 55"/>
                <a:gd name="T10" fmla="*/ 15225994 w 84"/>
                <a:gd name="T11" fmla="*/ 3807644 h 55"/>
                <a:gd name="T12" fmla="*/ 15225994 w 84"/>
                <a:gd name="T13" fmla="*/ 2404810 h 55"/>
                <a:gd name="T14" fmla="*/ 17027597 w 84"/>
                <a:gd name="T15" fmla="*/ 2404810 h 55"/>
                <a:gd name="T16" fmla="*/ 18466955 w 84"/>
                <a:gd name="T17" fmla="*/ 0 h 55"/>
                <a:gd name="T18" fmla="*/ 23426040 w 84"/>
                <a:gd name="T19" fmla="*/ 0 h 55"/>
                <a:gd name="T20" fmla="*/ 23426040 w 84"/>
                <a:gd name="T21" fmla="*/ 2404810 h 55"/>
                <a:gd name="T22" fmla="*/ 26946503 w 84"/>
                <a:gd name="T23" fmla="*/ 0 h 55"/>
                <a:gd name="T24" fmla="*/ 29810338 w 84"/>
                <a:gd name="T25" fmla="*/ 0 h 55"/>
                <a:gd name="T26" fmla="*/ 28020582 w 84"/>
                <a:gd name="T27" fmla="*/ 2404810 h 55"/>
                <a:gd name="T28" fmla="*/ 28020582 w 84"/>
                <a:gd name="T29" fmla="*/ 13536698 h 55"/>
                <a:gd name="T30" fmla="*/ 26655154 w 84"/>
                <a:gd name="T31" fmla="*/ 13536698 h 55"/>
                <a:gd name="T32" fmla="*/ 26655154 w 84"/>
                <a:gd name="T33" fmla="*/ 15999289 h 55"/>
                <a:gd name="T34" fmla="*/ 23064496 w 84"/>
                <a:gd name="T35" fmla="*/ 19104366 h 55"/>
                <a:gd name="T36" fmla="*/ 19908704 w 84"/>
                <a:gd name="T37" fmla="*/ 19104366 h 55"/>
                <a:gd name="T38" fmla="*/ 23064496 w 84"/>
                <a:gd name="T39" fmla="*/ 15999289 h 55"/>
                <a:gd name="T40" fmla="*/ 21259899 w 84"/>
                <a:gd name="T41" fmla="*/ 13536698 h 55"/>
                <a:gd name="T42" fmla="*/ 18104690 w 84"/>
                <a:gd name="T43" fmla="*/ 13536698 h 55"/>
                <a:gd name="T44" fmla="*/ 11705540 w 84"/>
                <a:gd name="T45" fmla="*/ 6984641 h 55"/>
                <a:gd name="T46" fmla="*/ 0 w 84"/>
                <a:gd name="T47" fmla="*/ 6984641 h 5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4"/>
                <a:gd name="T73" fmla="*/ 0 h 55"/>
                <a:gd name="T74" fmla="*/ 84 w 84"/>
                <a:gd name="T75" fmla="*/ 55 h 5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4" h="55">
                  <a:moveTo>
                    <a:pt x="0" y="20"/>
                  </a:moveTo>
                  <a:lnTo>
                    <a:pt x="6" y="15"/>
                  </a:lnTo>
                  <a:lnTo>
                    <a:pt x="6" y="7"/>
                  </a:lnTo>
                  <a:lnTo>
                    <a:pt x="30" y="7"/>
                  </a:lnTo>
                  <a:lnTo>
                    <a:pt x="38" y="12"/>
                  </a:lnTo>
                  <a:lnTo>
                    <a:pt x="43" y="11"/>
                  </a:lnTo>
                  <a:lnTo>
                    <a:pt x="43" y="7"/>
                  </a:lnTo>
                  <a:lnTo>
                    <a:pt x="48" y="7"/>
                  </a:lnTo>
                  <a:lnTo>
                    <a:pt x="52" y="0"/>
                  </a:lnTo>
                  <a:lnTo>
                    <a:pt x="66" y="0"/>
                  </a:lnTo>
                  <a:lnTo>
                    <a:pt x="66" y="7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79" y="7"/>
                  </a:lnTo>
                  <a:cubicBezTo>
                    <a:pt x="79" y="17"/>
                    <a:pt x="79" y="28"/>
                    <a:pt x="79" y="39"/>
                  </a:cubicBezTo>
                  <a:lnTo>
                    <a:pt x="75" y="39"/>
                  </a:lnTo>
                  <a:lnTo>
                    <a:pt x="75" y="46"/>
                  </a:lnTo>
                  <a:lnTo>
                    <a:pt x="65" y="55"/>
                  </a:lnTo>
                  <a:lnTo>
                    <a:pt x="56" y="55"/>
                  </a:lnTo>
                  <a:lnTo>
                    <a:pt x="65" y="46"/>
                  </a:lnTo>
                  <a:lnTo>
                    <a:pt x="60" y="39"/>
                  </a:lnTo>
                  <a:lnTo>
                    <a:pt x="51" y="39"/>
                  </a:lnTo>
                  <a:lnTo>
                    <a:pt x="33" y="20"/>
                  </a:lnTo>
                  <a:lnTo>
                    <a:pt x="0" y="20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Freeform 119">
              <a:extLst>
                <a:ext uri="{FF2B5EF4-FFF2-40B4-BE49-F238E27FC236}">
                  <a16:creationId xmlns:a16="http://schemas.microsoft.com/office/drawing/2014/main" id="{743BB54F-5CE4-1668-A1BD-71DD95B88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2383" y="5490015"/>
              <a:ext cx="1142470" cy="983110"/>
            </a:xfrm>
            <a:custGeom>
              <a:avLst/>
              <a:gdLst>
                <a:gd name="T0" fmla="*/ 32307406 w 115"/>
                <a:gd name="T1" fmla="*/ 21700350 h 102"/>
                <a:gd name="T2" fmla="*/ 29843072 w 115"/>
                <a:gd name="T3" fmla="*/ 24462056 h 102"/>
                <a:gd name="T4" fmla="*/ 26204640 w 115"/>
                <a:gd name="T5" fmla="*/ 27655632 h 102"/>
                <a:gd name="T6" fmla="*/ 26936958 w 115"/>
                <a:gd name="T7" fmla="*/ 26246877 h 102"/>
                <a:gd name="T8" fmla="*/ 28389797 w 115"/>
                <a:gd name="T9" fmla="*/ 25182431 h 102"/>
                <a:gd name="T10" fmla="*/ 30560487 w 115"/>
                <a:gd name="T11" fmla="*/ 22406464 h 102"/>
                <a:gd name="T12" fmla="*/ 33392226 w 115"/>
                <a:gd name="T13" fmla="*/ 19212903 h 102"/>
                <a:gd name="T14" fmla="*/ 32307406 w 115"/>
                <a:gd name="T15" fmla="*/ 18148456 h 102"/>
                <a:gd name="T16" fmla="*/ 34113203 w 115"/>
                <a:gd name="T17" fmla="*/ 17515643 h 102"/>
                <a:gd name="T18" fmla="*/ 36298321 w 115"/>
                <a:gd name="T19" fmla="*/ 17156699 h 102"/>
                <a:gd name="T20" fmla="*/ 34477660 w 115"/>
                <a:gd name="T21" fmla="*/ 18509808 h 102"/>
                <a:gd name="T22" fmla="*/ 34113203 w 115"/>
                <a:gd name="T23" fmla="*/ 20277458 h 102"/>
                <a:gd name="T24" fmla="*/ 32307406 w 115"/>
                <a:gd name="T25" fmla="*/ 21700350 h 102"/>
                <a:gd name="T26" fmla="*/ 36298321 w 115"/>
                <a:gd name="T27" fmla="*/ 20277458 h 102"/>
                <a:gd name="T28" fmla="*/ 38045359 w 115"/>
                <a:gd name="T29" fmla="*/ 15389631 h 102"/>
                <a:gd name="T30" fmla="*/ 41300889 w 115"/>
                <a:gd name="T31" fmla="*/ 12266001 h 102"/>
                <a:gd name="T32" fmla="*/ 39498159 w 115"/>
                <a:gd name="T33" fmla="*/ 12266001 h 102"/>
                <a:gd name="T34" fmla="*/ 38045359 w 115"/>
                <a:gd name="T35" fmla="*/ 12266001 h 102"/>
                <a:gd name="T36" fmla="*/ 39498159 w 115"/>
                <a:gd name="T37" fmla="*/ 10498924 h 102"/>
                <a:gd name="T38" fmla="*/ 41300889 w 115"/>
                <a:gd name="T39" fmla="*/ 9075446 h 102"/>
                <a:gd name="T40" fmla="*/ 39498159 w 115"/>
                <a:gd name="T41" fmla="*/ 6672641 h 102"/>
                <a:gd name="T42" fmla="*/ 36298321 w 115"/>
                <a:gd name="T43" fmla="*/ 6672641 h 102"/>
                <a:gd name="T44" fmla="*/ 29843072 w 115"/>
                <a:gd name="T45" fmla="*/ 0 h 102"/>
                <a:gd name="T46" fmla="*/ 17928596 w 115"/>
                <a:gd name="T47" fmla="*/ 0 h 102"/>
                <a:gd name="T48" fmla="*/ 16549559 w 115"/>
                <a:gd name="T49" fmla="*/ 1770067 h 102"/>
                <a:gd name="T50" fmla="*/ 13278482 w 115"/>
                <a:gd name="T51" fmla="*/ 1770067 h 102"/>
                <a:gd name="T52" fmla="*/ 8276041 w 115"/>
                <a:gd name="T53" fmla="*/ 6672641 h 102"/>
                <a:gd name="T54" fmla="*/ 5002569 w 115"/>
                <a:gd name="T55" fmla="*/ 12266001 h 102"/>
                <a:gd name="T56" fmla="*/ 3270439 w 115"/>
                <a:gd name="T57" fmla="*/ 12266001 h 102"/>
                <a:gd name="T58" fmla="*/ 0 w 115"/>
                <a:gd name="T59" fmla="*/ 15389631 h 102"/>
                <a:gd name="T60" fmla="*/ 0 w 115"/>
                <a:gd name="T61" fmla="*/ 17156699 h 102"/>
                <a:gd name="T62" fmla="*/ 1820676 w 115"/>
                <a:gd name="T63" fmla="*/ 18509808 h 102"/>
                <a:gd name="T64" fmla="*/ 1820676 w 115"/>
                <a:gd name="T65" fmla="*/ 17156699 h 102"/>
                <a:gd name="T66" fmla="*/ 5002569 w 115"/>
                <a:gd name="T67" fmla="*/ 17156699 h 102"/>
                <a:gd name="T68" fmla="*/ 5002569 w 115"/>
                <a:gd name="T69" fmla="*/ 18509808 h 102"/>
                <a:gd name="T70" fmla="*/ 6823246 w 115"/>
                <a:gd name="T71" fmla="*/ 20277458 h 102"/>
                <a:gd name="T72" fmla="*/ 6823246 w 115"/>
                <a:gd name="T73" fmla="*/ 21700350 h 102"/>
                <a:gd name="T74" fmla="*/ 8276041 w 115"/>
                <a:gd name="T75" fmla="*/ 21700350 h 102"/>
                <a:gd name="T76" fmla="*/ 10093679 w 115"/>
                <a:gd name="T77" fmla="*/ 20277458 h 102"/>
                <a:gd name="T78" fmla="*/ 13278482 w 115"/>
                <a:gd name="T79" fmla="*/ 24117866 h 102"/>
                <a:gd name="T80" fmla="*/ 14731896 w 115"/>
                <a:gd name="T81" fmla="*/ 24117866 h 102"/>
                <a:gd name="T82" fmla="*/ 16549559 w 115"/>
                <a:gd name="T83" fmla="*/ 25885566 h 102"/>
                <a:gd name="T84" fmla="*/ 17928596 w 115"/>
                <a:gd name="T85" fmla="*/ 27655632 h 102"/>
                <a:gd name="T86" fmla="*/ 21567004 w 115"/>
                <a:gd name="T87" fmla="*/ 30776381 h 102"/>
                <a:gd name="T88" fmla="*/ 21567004 w 115"/>
                <a:gd name="T89" fmla="*/ 32546329 h 102"/>
                <a:gd name="T90" fmla="*/ 19749366 w 115"/>
                <a:gd name="T91" fmla="*/ 32546329 h 102"/>
                <a:gd name="T92" fmla="*/ 19749366 w 115"/>
                <a:gd name="T93" fmla="*/ 33896440 h 102"/>
                <a:gd name="T94" fmla="*/ 21567004 w 115"/>
                <a:gd name="T95" fmla="*/ 35667098 h 102"/>
                <a:gd name="T96" fmla="*/ 24751840 w 115"/>
                <a:gd name="T97" fmla="*/ 32546329 h 102"/>
                <a:gd name="T98" fmla="*/ 26572026 w 115"/>
                <a:gd name="T99" fmla="*/ 29367646 h 102"/>
                <a:gd name="T100" fmla="*/ 28022411 w 115"/>
                <a:gd name="T101" fmla="*/ 27655632 h 102"/>
                <a:gd name="T102" fmla="*/ 31222110 w 115"/>
                <a:gd name="T103" fmla="*/ 24823980 h 102"/>
                <a:gd name="T104" fmla="*/ 36298321 w 115"/>
                <a:gd name="T105" fmla="*/ 20277458 h 102"/>
                <a:gd name="T106" fmla="*/ 36298321 w 115"/>
                <a:gd name="T107" fmla="*/ 20277458 h 1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5"/>
                <a:gd name="T163" fmla="*/ 0 h 102"/>
                <a:gd name="T164" fmla="*/ 115 w 115"/>
                <a:gd name="T165" fmla="*/ 102 h 10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5" h="102">
                  <a:moveTo>
                    <a:pt x="90" y="62"/>
                  </a:moveTo>
                  <a:lnTo>
                    <a:pt x="83" y="70"/>
                  </a:lnTo>
                  <a:lnTo>
                    <a:pt x="73" y="79"/>
                  </a:lnTo>
                  <a:lnTo>
                    <a:pt x="75" y="75"/>
                  </a:lnTo>
                  <a:lnTo>
                    <a:pt x="79" y="72"/>
                  </a:lnTo>
                  <a:lnTo>
                    <a:pt x="85" y="64"/>
                  </a:lnTo>
                  <a:lnTo>
                    <a:pt x="93" y="55"/>
                  </a:lnTo>
                  <a:lnTo>
                    <a:pt x="90" y="52"/>
                  </a:lnTo>
                  <a:lnTo>
                    <a:pt x="95" y="50"/>
                  </a:lnTo>
                  <a:lnTo>
                    <a:pt x="101" y="49"/>
                  </a:lnTo>
                  <a:lnTo>
                    <a:pt x="96" y="53"/>
                  </a:lnTo>
                  <a:lnTo>
                    <a:pt x="95" y="58"/>
                  </a:lnTo>
                  <a:lnTo>
                    <a:pt x="90" y="62"/>
                  </a:lnTo>
                  <a:moveTo>
                    <a:pt x="101" y="58"/>
                  </a:moveTo>
                  <a:lnTo>
                    <a:pt x="106" y="44"/>
                  </a:lnTo>
                  <a:lnTo>
                    <a:pt x="115" y="35"/>
                  </a:lnTo>
                  <a:lnTo>
                    <a:pt x="110" y="35"/>
                  </a:lnTo>
                  <a:lnTo>
                    <a:pt x="106" y="35"/>
                  </a:lnTo>
                  <a:lnTo>
                    <a:pt x="110" y="30"/>
                  </a:lnTo>
                  <a:lnTo>
                    <a:pt x="115" y="26"/>
                  </a:lnTo>
                  <a:lnTo>
                    <a:pt x="110" y="19"/>
                  </a:lnTo>
                  <a:lnTo>
                    <a:pt x="101" y="19"/>
                  </a:lnTo>
                  <a:lnTo>
                    <a:pt x="83" y="0"/>
                  </a:lnTo>
                  <a:lnTo>
                    <a:pt x="50" y="0"/>
                  </a:lnTo>
                  <a:lnTo>
                    <a:pt x="46" y="5"/>
                  </a:lnTo>
                  <a:lnTo>
                    <a:pt x="37" y="5"/>
                  </a:lnTo>
                  <a:lnTo>
                    <a:pt x="23" y="19"/>
                  </a:lnTo>
                  <a:lnTo>
                    <a:pt x="14" y="35"/>
                  </a:lnTo>
                  <a:lnTo>
                    <a:pt x="9" y="35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14" y="49"/>
                  </a:lnTo>
                  <a:lnTo>
                    <a:pt x="14" y="53"/>
                  </a:lnTo>
                  <a:lnTo>
                    <a:pt x="19" y="58"/>
                  </a:lnTo>
                  <a:lnTo>
                    <a:pt x="19" y="62"/>
                  </a:lnTo>
                  <a:lnTo>
                    <a:pt x="23" y="62"/>
                  </a:lnTo>
                  <a:lnTo>
                    <a:pt x="28" y="58"/>
                  </a:lnTo>
                  <a:lnTo>
                    <a:pt x="37" y="69"/>
                  </a:lnTo>
                  <a:lnTo>
                    <a:pt x="41" y="69"/>
                  </a:lnTo>
                  <a:lnTo>
                    <a:pt x="46" y="74"/>
                  </a:lnTo>
                  <a:lnTo>
                    <a:pt x="50" y="79"/>
                  </a:lnTo>
                  <a:lnTo>
                    <a:pt x="60" y="88"/>
                  </a:lnTo>
                  <a:lnTo>
                    <a:pt x="60" y="93"/>
                  </a:lnTo>
                  <a:lnTo>
                    <a:pt x="55" y="93"/>
                  </a:lnTo>
                  <a:lnTo>
                    <a:pt x="55" y="97"/>
                  </a:lnTo>
                  <a:lnTo>
                    <a:pt x="60" y="102"/>
                  </a:lnTo>
                  <a:lnTo>
                    <a:pt x="69" y="93"/>
                  </a:lnTo>
                  <a:lnTo>
                    <a:pt x="74" y="84"/>
                  </a:lnTo>
                  <a:lnTo>
                    <a:pt x="78" y="79"/>
                  </a:lnTo>
                  <a:lnTo>
                    <a:pt x="87" y="71"/>
                  </a:lnTo>
                  <a:lnTo>
                    <a:pt x="101" y="58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0" name="Freeform 120">
              <a:extLst>
                <a:ext uri="{FF2B5EF4-FFF2-40B4-BE49-F238E27FC236}">
                  <a16:creationId xmlns:a16="http://schemas.microsoft.com/office/drawing/2014/main" id="{0F8B0D75-7B18-B645-8AAA-7819989EE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0880" y="3183712"/>
              <a:ext cx="1130422" cy="1088653"/>
            </a:xfrm>
            <a:custGeom>
              <a:avLst/>
              <a:gdLst>
                <a:gd name="T0" fmla="*/ 38910865 w 114"/>
                <a:gd name="T1" fmla="*/ 1763433 h 113"/>
                <a:gd name="T2" fmla="*/ 37186367 w 114"/>
                <a:gd name="T3" fmla="*/ 1763433 h 113"/>
                <a:gd name="T4" fmla="*/ 33963460 w 114"/>
                <a:gd name="T5" fmla="*/ 1763433 h 113"/>
                <a:gd name="T6" fmla="*/ 31528199 w 114"/>
                <a:gd name="T7" fmla="*/ 1763433 h 113"/>
                <a:gd name="T8" fmla="*/ 29741771 w 114"/>
                <a:gd name="T9" fmla="*/ 0 h 113"/>
                <a:gd name="T10" fmla="*/ 26157753 w 114"/>
                <a:gd name="T11" fmla="*/ 0 h 113"/>
                <a:gd name="T12" fmla="*/ 24433235 w 114"/>
                <a:gd name="T13" fmla="*/ 1763433 h 113"/>
                <a:gd name="T14" fmla="*/ 21574954 w 114"/>
                <a:gd name="T15" fmla="*/ 1763433 h 113"/>
                <a:gd name="T16" fmla="*/ 20209161 w 114"/>
                <a:gd name="T17" fmla="*/ 0 h 113"/>
                <a:gd name="T18" fmla="*/ 16263421 w 114"/>
                <a:gd name="T19" fmla="*/ 0 h 113"/>
                <a:gd name="T20" fmla="*/ 16263421 w 114"/>
                <a:gd name="T21" fmla="*/ 1419823 h 113"/>
                <a:gd name="T22" fmla="*/ 14480015 w 114"/>
                <a:gd name="T23" fmla="*/ 1763433 h 113"/>
                <a:gd name="T24" fmla="*/ 13114237 w 114"/>
                <a:gd name="T25" fmla="*/ 5578188 h 113"/>
                <a:gd name="T26" fmla="*/ 11316006 w 114"/>
                <a:gd name="T27" fmla="*/ 10469739 h 113"/>
                <a:gd name="T28" fmla="*/ 9533215 w 114"/>
                <a:gd name="T29" fmla="*/ 13569152 h 113"/>
                <a:gd name="T30" fmla="*/ 8166829 w 114"/>
                <a:gd name="T31" fmla="*/ 13569152 h 113"/>
                <a:gd name="T32" fmla="*/ 6733229 w 114"/>
                <a:gd name="T33" fmla="*/ 18460705 h 113"/>
                <a:gd name="T34" fmla="*/ 4947407 w 114"/>
                <a:gd name="T35" fmla="*/ 18460705 h 113"/>
                <a:gd name="T36" fmla="*/ 3510903 w 114"/>
                <a:gd name="T37" fmla="*/ 22619074 h 113"/>
                <a:gd name="T38" fmla="*/ 361115 w 114"/>
                <a:gd name="T39" fmla="*/ 24038881 h 113"/>
                <a:gd name="T40" fmla="*/ 361115 w 114"/>
                <a:gd name="T41" fmla="*/ 27496026 h 113"/>
                <a:gd name="T42" fmla="*/ 0 w 114"/>
                <a:gd name="T43" fmla="*/ 30336134 h 113"/>
                <a:gd name="T44" fmla="*/ 0 w 114"/>
                <a:gd name="T45" fmla="*/ 32029867 h 113"/>
                <a:gd name="T46" fmla="*/ 1783401 w 114"/>
                <a:gd name="T47" fmla="*/ 32029867 h 113"/>
                <a:gd name="T48" fmla="*/ 0 w 114"/>
                <a:gd name="T49" fmla="*/ 34150903 h 113"/>
                <a:gd name="T50" fmla="*/ 1783401 w 114"/>
                <a:gd name="T51" fmla="*/ 34497505 h 113"/>
                <a:gd name="T52" fmla="*/ 7094927 w 114"/>
                <a:gd name="T53" fmla="*/ 36275054 h 113"/>
                <a:gd name="T54" fmla="*/ 9894330 w 114"/>
                <a:gd name="T55" fmla="*/ 37608028 h 113"/>
                <a:gd name="T56" fmla="*/ 11680612 w 114"/>
                <a:gd name="T57" fmla="*/ 39389048 h 113"/>
                <a:gd name="T58" fmla="*/ 13464018 w 114"/>
                <a:gd name="T59" fmla="*/ 37608028 h 113"/>
                <a:gd name="T60" fmla="*/ 14826932 w 114"/>
                <a:gd name="T61" fmla="*/ 34497505 h 113"/>
                <a:gd name="T62" fmla="*/ 21574954 w 114"/>
                <a:gd name="T63" fmla="*/ 34497505 h 113"/>
                <a:gd name="T64" fmla="*/ 22996638 w 114"/>
                <a:gd name="T65" fmla="*/ 32387589 h 113"/>
                <a:gd name="T66" fmla="*/ 26507544 w 114"/>
                <a:gd name="T67" fmla="*/ 34497505 h 113"/>
                <a:gd name="T68" fmla="*/ 29741771 w 114"/>
                <a:gd name="T69" fmla="*/ 34497505 h 113"/>
                <a:gd name="T70" fmla="*/ 32891587 w 114"/>
                <a:gd name="T71" fmla="*/ 30682618 h 113"/>
                <a:gd name="T72" fmla="*/ 32891587 w 114"/>
                <a:gd name="T73" fmla="*/ 28916327 h 113"/>
                <a:gd name="T74" fmla="*/ 31528199 w 114"/>
                <a:gd name="T75" fmla="*/ 28916327 h 113"/>
                <a:gd name="T76" fmla="*/ 31528199 w 114"/>
                <a:gd name="T77" fmla="*/ 27496026 h 113"/>
                <a:gd name="T78" fmla="*/ 32891587 w 114"/>
                <a:gd name="T79" fmla="*/ 25805192 h 113"/>
                <a:gd name="T80" fmla="*/ 32891587 w 114"/>
                <a:gd name="T81" fmla="*/ 20928357 h 113"/>
                <a:gd name="T82" fmla="*/ 35400077 w 114"/>
                <a:gd name="T83" fmla="*/ 18460705 h 113"/>
                <a:gd name="T84" fmla="*/ 35400077 w 114"/>
                <a:gd name="T85" fmla="*/ 17113603 h 113"/>
                <a:gd name="T86" fmla="*/ 33602350 w 114"/>
                <a:gd name="T87" fmla="*/ 15347303 h 113"/>
                <a:gd name="T88" fmla="*/ 35400077 w 114"/>
                <a:gd name="T89" fmla="*/ 13569152 h 113"/>
                <a:gd name="T90" fmla="*/ 37186367 w 114"/>
                <a:gd name="T91" fmla="*/ 13569152 h 113"/>
                <a:gd name="T92" fmla="*/ 37186367 w 114"/>
                <a:gd name="T93" fmla="*/ 12236158 h 113"/>
                <a:gd name="T94" fmla="*/ 38910865 w 114"/>
                <a:gd name="T95" fmla="*/ 13569152 h 113"/>
                <a:gd name="T96" fmla="*/ 40332667 w 114"/>
                <a:gd name="T97" fmla="*/ 13569152 h 113"/>
                <a:gd name="T98" fmla="*/ 40332667 w 114"/>
                <a:gd name="T99" fmla="*/ 10469739 h 113"/>
                <a:gd name="T100" fmla="*/ 38910865 w 114"/>
                <a:gd name="T101" fmla="*/ 7359213 h 113"/>
                <a:gd name="T102" fmla="*/ 38910865 w 114"/>
                <a:gd name="T103" fmla="*/ 5578188 h 113"/>
                <a:gd name="T104" fmla="*/ 40332667 w 114"/>
                <a:gd name="T105" fmla="*/ 5578188 h 113"/>
                <a:gd name="T106" fmla="*/ 38910865 w 114"/>
                <a:gd name="T107" fmla="*/ 3113547 h 113"/>
                <a:gd name="T108" fmla="*/ 38910865 w 114"/>
                <a:gd name="T109" fmla="*/ 1763433 h 11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4"/>
                <a:gd name="T166" fmla="*/ 0 h 113"/>
                <a:gd name="T167" fmla="*/ 114 w 114"/>
                <a:gd name="T168" fmla="*/ 113 h 11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4" h="113">
                  <a:moveTo>
                    <a:pt x="110" y="5"/>
                  </a:moveTo>
                  <a:lnTo>
                    <a:pt x="105" y="5"/>
                  </a:lnTo>
                  <a:lnTo>
                    <a:pt x="96" y="5"/>
                  </a:lnTo>
                  <a:lnTo>
                    <a:pt x="89" y="5"/>
                  </a:lnTo>
                  <a:lnTo>
                    <a:pt x="84" y="0"/>
                  </a:lnTo>
                  <a:lnTo>
                    <a:pt x="74" y="0"/>
                  </a:lnTo>
                  <a:lnTo>
                    <a:pt x="69" y="5"/>
                  </a:lnTo>
                  <a:lnTo>
                    <a:pt x="61" y="5"/>
                  </a:lnTo>
                  <a:lnTo>
                    <a:pt x="57" y="0"/>
                  </a:lnTo>
                  <a:lnTo>
                    <a:pt x="46" y="0"/>
                  </a:lnTo>
                  <a:lnTo>
                    <a:pt x="46" y="4"/>
                  </a:lnTo>
                  <a:lnTo>
                    <a:pt x="41" y="5"/>
                  </a:lnTo>
                  <a:lnTo>
                    <a:pt x="37" y="16"/>
                  </a:lnTo>
                  <a:lnTo>
                    <a:pt x="32" y="30"/>
                  </a:lnTo>
                  <a:lnTo>
                    <a:pt x="27" y="39"/>
                  </a:lnTo>
                  <a:lnTo>
                    <a:pt x="23" y="39"/>
                  </a:lnTo>
                  <a:lnTo>
                    <a:pt x="19" y="53"/>
                  </a:lnTo>
                  <a:lnTo>
                    <a:pt x="14" y="53"/>
                  </a:lnTo>
                  <a:lnTo>
                    <a:pt x="10" y="65"/>
                  </a:lnTo>
                  <a:lnTo>
                    <a:pt x="1" y="69"/>
                  </a:lnTo>
                  <a:lnTo>
                    <a:pt x="1" y="79"/>
                  </a:lnTo>
                  <a:lnTo>
                    <a:pt x="0" y="87"/>
                  </a:lnTo>
                  <a:lnTo>
                    <a:pt x="0" y="92"/>
                  </a:lnTo>
                  <a:lnTo>
                    <a:pt x="5" y="92"/>
                  </a:lnTo>
                  <a:lnTo>
                    <a:pt x="0" y="98"/>
                  </a:lnTo>
                  <a:lnTo>
                    <a:pt x="5" y="99"/>
                  </a:lnTo>
                  <a:lnTo>
                    <a:pt x="20" y="104"/>
                  </a:lnTo>
                  <a:lnTo>
                    <a:pt x="28" y="108"/>
                  </a:lnTo>
                  <a:lnTo>
                    <a:pt x="33" y="113"/>
                  </a:lnTo>
                  <a:lnTo>
                    <a:pt x="38" y="108"/>
                  </a:lnTo>
                  <a:lnTo>
                    <a:pt x="42" y="99"/>
                  </a:lnTo>
                  <a:lnTo>
                    <a:pt x="61" y="99"/>
                  </a:lnTo>
                  <a:lnTo>
                    <a:pt x="65" y="93"/>
                  </a:lnTo>
                  <a:lnTo>
                    <a:pt x="75" y="99"/>
                  </a:lnTo>
                  <a:lnTo>
                    <a:pt x="84" y="99"/>
                  </a:lnTo>
                  <a:lnTo>
                    <a:pt x="93" y="88"/>
                  </a:lnTo>
                  <a:lnTo>
                    <a:pt x="93" y="83"/>
                  </a:lnTo>
                  <a:lnTo>
                    <a:pt x="89" y="83"/>
                  </a:lnTo>
                  <a:lnTo>
                    <a:pt x="89" y="79"/>
                  </a:lnTo>
                  <a:lnTo>
                    <a:pt x="93" y="74"/>
                  </a:lnTo>
                  <a:cubicBezTo>
                    <a:pt x="93" y="70"/>
                    <a:pt x="93" y="65"/>
                    <a:pt x="93" y="60"/>
                  </a:cubicBezTo>
                  <a:lnTo>
                    <a:pt x="100" y="53"/>
                  </a:lnTo>
                  <a:lnTo>
                    <a:pt x="100" y="49"/>
                  </a:lnTo>
                  <a:lnTo>
                    <a:pt x="95" y="44"/>
                  </a:lnTo>
                  <a:lnTo>
                    <a:pt x="100" y="39"/>
                  </a:lnTo>
                  <a:lnTo>
                    <a:pt x="105" y="39"/>
                  </a:lnTo>
                  <a:lnTo>
                    <a:pt x="105" y="35"/>
                  </a:lnTo>
                  <a:lnTo>
                    <a:pt x="110" y="39"/>
                  </a:lnTo>
                  <a:lnTo>
                    <a:pt x="114" y="39"/>
                  </a:lnTo>
                  <a:lnTo>
                    <a:pt x="114" y="30"/>
                  </a:lnTo>
                  <a:lnTo>
                    <a:pt x="110" y="21"/>
                  </a:lnTo>
                  <a:lnTo>
                    <a:pt x="110" y="16"/>
                  </a:lnTo>
                  <a:lnTo>
                    <a:pt x="114" y="16"/>
                  </a:lnTo>
                  <a:lnTo>
                    <a:pt x="110" y="9"/>
                  </a:lnTo>
                  <a:lnTo>
                    <a:pt x="110" y="5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1" name="Freeform 121">
              <a:extLst>
                <a:ext uri="{FF2B5EF4-FFF2-40B4-BE49-F238E27FC236}">
                  <a16:creationId xmlns:a16="http://schemas.microsoft.com/office/drawing/2014/main" id="{32B019E5-36C5-7C2F-4F0C-53564ECA7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6310" y="1997332"/>
              <a:ext cx="801134" cy="1245013"/>
            </a:xfrm>
            <a:custGeom>
              <a:avLst/>
              <a:gdLst>
                <a:gd name="T0" fmla="*/ 1757521 w 81"/>
                <a:gd name="T1" fmla="*/ 45595293 h 129"/>
                <a:gd name="T2" fmla="*/ 3100526 w 81"/>
                <a:gd name="T3" fmla="*/ 44884776 h 129"/>
                <a:gd name="T4" fmla="*/ 3100526 w 81"/>
                <a:gd name="T5" fmla="*/ 43102915 h 129"/>
                <a:gd name="T6" fmla="*/ 6615543 w 81"/>
                <a:gd name="T7" fmla="*/ 43102915 h 129"/>
                <a:gd name="T8" fmla="*/ 7958547 w 81"/>
                <a:gd name="T9" fmla="*/ 44884776 h 129"/>
                <a:gd name="T10" fmla="*/ 11113786 w 81"/>
                <a:gd name="T11" fmla="*/ 44884776 h 129"/>
                <a:gd name="T12" fmla="*/ 12816570 w 81"/>
                <a:gd name="T13" fmla="*/ 43102915 h 129"/>
                <a:gd name="T14" fmla="*/ 15971831 w 81"/>
                <a:gd name="T15" fmla="*/ 43102915 h 129"/>
                <a:gd name="T16" fmla="*/ 17656921 w 81"/>
                <a:gd name="T17" fmla="*/ 44884776 h 129"/>
                <a:gd name="T18" fmla="*/ 20130848 w 81"/>
                <a:gd name="T19" fmla="*/ 44884776 h 129"/>
                <a:gd name="T20" fmla="*/ 23231377 w 81"/>
                <a:gd name="T21" fmla="*/ 44884776 h 129"/>
                <a:gd name="T22" fmla="*/ 26673968 w 81"/>
                <a:gd name="T23" fmla="*/ 44884776 h 129"/>
                <a:gd name="T24" fmla="*/ 25687738 w 81"/>
                <a:gd name="T25" fmla="*/ 44174260 h 129"/>
                <a:gd name="T26" fmla="*/ 26317173 w 81"/>
                <a:gd name="T27" fmla="*/ 43102915 h 129"/>
                <a:gd name="T28" fmla="*/ 24986011 w 81"/>
                <a:gd name="T29" fmla="*/ 43102915 h 129"/>
                <a:gd name="T30" fmla="*/ 24986011 w 81"/>
                <a:gd name="T31" fmla="*/ 41737228 h 129"/>
                <a:gd name="T32" fmla="*/ 24986011 w 81"/>
                <a:gd name="T33" fmla="*/ 40304907 h 129"/>
                <a:gd name="T34" fmla="*/ 24986011 w 81"/>
                <a:gd name="T35" fmla="*/ 38519392 h 129"/>
                <a:gd name="T36" fmla="*/ 26317173 w 81"/>
                <a:gd name="T37" fmla="*/ 38519392 h 129"/>
                <a:gd name="T38" fmla="*/ 23231377 w 81"/>
                <a:gd name="T39" fmla="*/ 36796391 h 129"/>
                <a:gd name="T40" fmla="*/ 24986011 w 81"/>
                <a:gd name="T41" fmla="*/ 35360525 h 129"/>
                <a:gd name="T42" fmla="*/ 24986011 w 81"/>
                <a:gd name="T43" fmla="*/ 32503665 h 129"/>
                <a:gd name="T44" fmla="*/ 28071708 w 81"/>
                <a:gd name="T45" fmla="*/ 31141493 h 129"/>
                <a:gd name="T46" fmla="*/ 26317173 w 81"/>
                <a:gd name="T47" fmla="*/ 29356610 h 129"/>
                <a:gd name="T48" fmla="*/ 24986011 w 81"/>
                <a:gd name="T49" fmla="*/ 29356610 h 129"/>
                <a:gd name="T50" fmla="*/ 23231377 w 81"/>
                <a:gd name="T51" fmla="*/ 26123950 h 129"/>
                <a:gd name="T52" fmla="*/ 23231377 w 81"/>
                <a:gd name="T53" fmla="*/ 24415132 h 129"/>
                <a:gd name="T54" fmla="*/ 21459148 w 81"/>
                <a:gd name="T55" fmla="*/ 22615415 h 129"/>
                <a:gd name="T56" fmla="*/ 23231377 w 81"/>
                <a:gd name="T57" fmla="*/ 19832225 h 129"/>
                <a:gd name="T58" fmla="*/ 24986011 w 81"/>
                <a:gd name="T59" fmla="*/ 19832225 h 129"/>
                <a:gd name="T60" fmla="*/ 24986011 w 81"/>
                <a:gd name="T61" fmla="*/ 17325024 h 129"/>
                <a:gd name="T62" fmla="*/ 21459148 w 81"/>
                <a:gd name="T63" fmla="*/ 17325024 h 129"/>
                <a:gd name="T64" fmla="*/ 19072208 w 81"/>
                <a:gd name="T65" fmla="*/ 13816499 h 129"/>
                <a:gd name="T66" fmla="*/ 19072208 w 81"/>
                <a:gd name="T67" fmla="*/ 12034588 h 129"/>
                <a:gd name="T68" fmla="*/ 17656921 w 81"/>
                <a:gd name="T69" fmla="*/ 12034588 h 129"/>
                <a:gd name="T70" fmla="*/ 19072208 w 81"/>
                <a:gd name="T71" fmla="*/ 10598761 h 129"/>
                <a:gd name="T72" fmla="*/ 19429120 w 81"/>
                <a:gd name="T73" fmla="*/ 3147664 h 129"/>
                <a:gd name="T74" fmla="*/ 17656921 w 81"/>
                <a:gd name="T75" fmla="*/ 1781886 h 129"/>
                <a:gd name="T76" fmla="*/ 15971831 w 81"/>
                <a:gd name="T77" fmla="*/ 1781886 h 129"/>
                <a:gd name="T78" fmla="*/ 14214311 w 81"/>
                <a:gd name="T79" fmla="*/ 0 h 129"/>
                <a:gd name="T80" fmla="*/ 15971831 w 81"/>
                <a:gd name="T81" fmla="*/ 1781886 h 129"/>
                <a:gd name="T82" fmla="*/ 14571095 w 81"/>
                <a:gd name="T83" fmla="*/ 7090120 h 129"/>
                <a:gd name="T84" fmla="*/ 11113786 w 81"/>
                <a:gd name="T85" fmla="*/ 8798924 h 129"/>
                <a:gd name="T86" fmla="*/ 9716063 w 81"/>
                <a:gd name="T87" fmla="*/ 10598761 h 129"/>
                <a:gd name="T88" fmla="*/ 10058148 w 81"/>
                <a:gd name="T89" fmla="*/ 12034588 h 129"/>
                <a:gd name="T90" fmla="*/ 8300628 w 81"/>
                <a:gd name="T91" fmla="*/ 13816499 h 129"/>
                <a:gd name="T92" fmla="*/ 10058148 w 81"/>
                <a:gd name="T93" fmla="*/ 15178651 h 129"/>
                <a:gd name="T94" fmla="*/ 8300628 w 81"/>
                <a:gd name="T95" fmla="*/ 19832225 h 129"/>
                <a:gd name="T96" fmla="*/ 6615543 w 81"/>
                <a:gd name="T97" fmla="*/ 22979878 h 129"/>
                <a:gd name="T98" fmla="*/ 3100526 w 81"/>
                <a:gd name="T99" fmla="*/ 27923647 h 129"/>
                <a:gd name="T100" fmla="*/ 0 w 81"/>
                <a:gd name="T101" fmla="*/ 35360525 h 129"/>
                <a:gd name="T102" fmla="*/ 0 w 81"/>
                <a:gd name="T103" fmla="*/ 43102915 h 129"/>
                <a:gd name="T104" fmla="*/ 1415435 w 81"/>
                <a:gd name="T105" fmla="*/ 44884776 h 129"/>
                <a:gd name="T106" fmla="*/ 1757521 w 81"/>
                <a:gd name="T107" fmla="*/ 45595293 h 12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1"/>
                <a:gd name="T163" fmla="*/ 0 h 129"/>
                <a:gd name="T164" fmla="*/ 81 w 81"/>
                <a:gd name="T165" fmla="*/ 129 h 12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1" h="129">
                  <a:moveTo>
                    <a:pt x="5" y="129"/>
                  </a:moveTo>
                  <a:lnTo>
                    <a:pt x="9" y="127"/>
                  </a:lnTo>
                  <a:lnTo>
                    <a:pt x="9" y="122"/>
                  </a:lnTo>
                  <a:lnTo>
                    <a:pt x="19" y="122"/>
                  </a:lnTo>
                  <a:lnTo>
                    <a:pt x="23" y="127"/>
                  </a:lnTo>
                  <a:lnTo>
                    <a:pt x="32" y="127"/>
                  </a:lnTo>
                  <a:lnTo>
                    <a:pt x="37" y="122"/>
                  </a:lnTo>
                  <a:lnTo>
                    <a:pt x="46" y="122"/>
                  </a:lnTo>
                  <a:lnTo>
                    <a:pt x="51" y="127"/>
                  </a:lnTo>
                  <a:lnTo>
                    <a:pt x="58" y="127"/>
                  </a:lnTo>
                  <a:lnTo>
                    <a:pt x="67" y="127"/>
                  </a:lnTo>
                  <a:lnTo>
                    <a:pt x="77" y="127"/>
                  </a:lnTo>
                  <a:lnTo>
                    <a:pt x="74" y="125"/>
                  </a:lnTo>
                  <a:lnTo>
                    <a:pt x="76" y="122"/>
                  </a:lnTo>
                  <a:lnTo>
                    <a:pt x="72" y="122"/>
                  </a:lnTo>
                  <a:lnTo>
                    <a:pt x="72" y="118"/>
                  </a:lnTo>
                  <a:lnTo>
                    <a:pt x="72" y="114"/>
                  </a:lnTo>
                  <a:lnTo>
                    <a:pt x="72" y="109"/>
                  </a:lnTo>
                  <a:lnTo>
                    <a:pt x="76" y="109"/>
                  </a:lnTo>
                  <a:lnTo>
                    <a:pt x="67" y="104"/>
                  </a:lnTo>
                  <a:lnTo>
                    <a:pt x="72" y="100"/>
                  </a:lnTo>
                  <a:lnTo>
                    <a:pt x="72" y="92"/>
                  </a:lnTo>
                  <a:lnTo>
                    <a:pt x="81" y="88"/>
                  </a:lnTo>
                  <a:lnTo>
                    <a:pt x="76" y="83"/>
                  </a:lnTo>
                  <a:lnTo>
                    <a:pt x="72" y="83"/>
                  </a:lnTo>
                  <a:lnTo>
                    <a:pt x="67" y="74"/>
                  </a:lnTo>
                  <a:lnTo>
                    <a:pt x="67" y="69"/>
                  </a:lnTo>
                  <a:lnTo>
                    <a:pt x="62" y="64"/>
                  </a:lnTo>
                  <a:lnTo>
                    <a:pt x="67" y="56"/>
                  </a:lnTo>
                  <a:lnTo>
                    <a:pt x="72" y="56"/>
                  </a:lnTo>
                  <a:lnTo>
                    <a:pt x="72" y="49"/>
                  </a:lnTo>
                  <a:lnTo>
                    <a:pt x="62" y="49"/>
                  </a:lnTo>
                  <a:lnTo>
                    <a:pt x="55" y="39"/>
                  </a:lnTo>
                  <a:lnTo>
                    <a:pt x="55" y="34"/>
                  </a:lnTo>
                  <a:lnTo>
                    <a:pt x="51" y="34"/>
                  </a:lnTo>
                  <a:lnTo>
                    <a:pt x="55" y="30"/>
                  </a:lnTo>
                  <a:lnTo>
                    <a:pt x="56" y="9"/>
                  </a:lnTo>
                  <a:lnTo>
                    <a:pt x="51" y="5"/>
                  </a:lnTo>
                  <a:lnTo>
                    <a:pt x="46" y="5"/>
                  </a:lnTo>
                  <a:lnTo>
                    <a:pt x="41" y="0"/>
                  </a:lnTo>
                  <a:lnTo>
                    <a:pt x="46" y="5"/>
                  </a:lnTo>
                  <a:lnTo>
                    <a:pt x="42" y="20"/>
                  </a:lnTo>
                  <a:lnTo>
                    <a:pt x="32" y="25"/>
                  </a:lnTo>
                  <a:lnTo>
                    <a:pt x="28" y="30"/>
                  </a:lnTo>
                  <a:lnTo>
                    <a:pt x="29" y="34"/>
                  </a:lnTo>
                  <a:lnTo>
                    <a:pt x="24" y="39"/>
                  </a:lnTo>
                  <a:lnTo>
                    <a:pt x="29" y="43"/>
                  </a:lnTo>
                  <a:lnTo>
                    <a:pt x="24" y="56"/>
                  </a:lnTo>
                  <a:lnTo>
                    <a:pt x="19" y="65"/>
                  </a:lnTo>
                  <a:lnTo>
                    <a:pt x="9" y="79"/>
                  </a:lnTo>
                  <a:lnTo>
                    <a:pt x="0" y="100"/>
                  </a:lnTo>
                  <a:lnTo>
                    <a:pt x="0" y="122"/>
                  </a:lnTo>
                  <a:lnTo>
                    <a:pt x="4" y="127"/>
                  </a:lnTo>
                  <a:lnTo>
                    <a:pt x="5" y="129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2" name="Freeform 122">
              <a:extLst>
                <a:ext uri="{FF2B5EF4-FFF2-40B4-BE49-F238E27FC236}">
                  <a16:creationId xmlns:a16="http://schemas.microsoft.com/office/drawing/2014/main" id="{853C1217-ADBE-F593-1158-A514B0921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885" y="3897100"/>
              <a:ext cx="1080226" cy="1129698"/>
            </a:xfrm>
            <a:custGeom>
              <a:avLst/>
              <a:gdLst>
                <a:gd name="T0" fmla="*/ 24695091 w 109"/>
                <a:gd name="T1" fmla="*/ 33679221 h 117"/>
                <a:gd name="T2" fmla="*/ 27472039 w 109"/>
                <a:gd name="T3" fmla="*/ 30875102 h 117"/>
                <a:gd name="T4" fmla="*/ 30263893 w 109"/>
                <a:gd name="T5" fmla="*/ 29086365 h 117"/>
                <a:gd name="T6" fmla="*/ 32042057 w 109"/>
                <a:gd name="T7" fmla="*/ 25917167 h 117"/>
                <a:gd name="T8" fmla="*/ 33834435 w 109"/>
                <a:gd name="T9" fmla="*/ 24130881 h 117"/>
                <a:gd name="T10" fmla="*/ 33834435 w 109"/>
                <a:gd name="T11" fmla="*/ 21615011 h 117"/>
                <a:gd name="T12" fmla="*/ 38386566 w 109"/>
                <a:gd name="T13" fmla="*/ 17022150 h 117"/>
                <a:gd name="T14" fmla="*/ 38386566 w 109"/>
                <a:gd name="T15" fmla="*/ 13852952 h 117"/>
                <a:gd name="T16" fmla="*/ 36608481 w 109"/>
                <a:gd name="T17" fmla="*/ 12064215 h 117"/>
                <a:gd name="T18" fmla="*/ 33471182 w 109"/>
                <a:gd name="T19" fmla="*/ 10263081 h 117"/>
                <a:gd name="T20" fmla="*/ 28904146 w 109"/>
                <a:gd name="T21" fmla="*/ 8547662 h 117"/>
                <a:gd name="T22" fmla="*/ 27126100 w 109"/>
                <a:gd name="T23" fmla="*/ 8547662 h 117"/>
                <a:gd name="T24" fmla="*/ 28904146 w 109"/>
                <a:gd name="T25" fmla="*/ 6396895 h 117"/>
                <a:gd name="T26" fmla="*/ 27126100 w 109"/>
                <a:gd name="T27" fmla="*/ 6396895 h 117"/>
                <a:gd name="T28" fmla="*/ 27126100 w 109"/>
                <a:gd name="T29" fmla="*/ 4593465 h 117"/>
                <a:gd name="T30" fmla="*/ 23625627 w 109"/>
                <a:gd name="T31" fmla="*/ 2877433 h 117"/>
                <a:gd name="T32" fmla="*/ 23625627 w 109"/>
                <a:gd name="T33" fmla="*/ 1438958 h 117"/>
                <a:gd name="T34" fmla="*/ 22192908 w 109"/>
                <a:gd name="T35" fmla="*/ 1438958 h 117"/>
                <a:gd name="T36" fmla="*/ 20414730 w 109"/>
                <a:gd name="T37" fmla="*/ 1438958 h 117"/>
                <a:gd name="T38" fmla="*/ 18695342 w 109"/>
                <a:gd name="T39" fmla="*/ 1438958 h 117"/>
                <a:gd name="T40" fmla="*/ 17263226 w 109"/>
                <a:gd name="T41" fmla="*/ 2877433 h 117"/>
                <a:gd name="T42" fmla="*/ 9136938 w 109"/>
                <a:gd name="T43" fmla="*/ 0 h 117"/>
                <a:gd name="T44" fmla="*/ 9136938 w 109"/>
                <a:gd name="T45" fmla="*/ 1438958 h 117"/>
                <a:gd name="T46" fmla="*/ 5999150 w 109"/>
                <a:gd name="T47" fmla="*/ 1438958 h 117"/>
                <a:gd name="T48" fmla="*/ 4206770 w 109"/>
                <a:gd name="T49" fmla="*/ 2877433 h 117"/>
                <a:gd name="T50" fmla="*/ 3137305 w 109"/>
                <a:gd name="T51" fmla="*/ 4593465 h 117"/>
                <a:gd name="T52" fmla="*/ 1778179 w 109"/>
                <a:gd name="T53" fmla="*/ 6396895 h 117"/>
                <a:gd name="T54" fmla="*/ 0 w 109"/>
                <a:gd name="T55" fmla="*/ 13852952 h 117"/>
                <a:gd name="T56" fmla="*/ 0 w 109"/>
                <a:gd name="T57" fmla="*/ 17022150 h 117"/>
                <a:gd name="T58" fmla="*/ 0 w 109"/>
                <a:gd name="T59" fmla="*/ 20249820 h 117"/>
                <a:gd name="T60" fmla="*/ 1778179 w 109"/>
                <a:gd name="T61" fmla="*/ 21980089 h 117"/>
                <a:gd name="T62" fmla="*/ 0 w 109"/>
                <a:gd name="T63" fmla="*/ 29086365 h 117"/>
                <a:gd name="T64" fmla="*/ 1778179 w 109"/>
                <a:gd name="T65" fmla="*/ 29086365 h 117"/>
                <a:gd name="T66" fmla="*/ 4206770 w 109"/>
                <a:gd name="T67" fmla="*/ 30875102 h 117"/>
                <a:gd name="T68" fmla="*/ 7416962 w 109"/>
                <a:gd name="T69" fmla="*/ 30875102 h 117"/>
                <a:gd name="T70" fmla="*/ 9136938 w 109"/>
                <a:gd name="T71" fmla="*/ 29086365 h 117"/>
                <a:gd name="T72" fmla="*/ 10918134 w 109"/>
                <a:gd name="T73" fmla="*/ 30875102 h 117"/>
                <a:gd name="T74" fmla="*/ 12347250 w 109"/>
                <a:gd name="T75" fmla="*/ 30875102 h 117"/>
                <a:gd name="T76" fmla="*/ 12347250 w 109"/>
                <a:gd name="T77" fmla="*/ 34391534 h 117"/>
                <a:gd name="T78" fmla="*/ 14055315 w 109"/>
                <a:gd name="T79" fmla="*/ 35833036 h 117"/>
                <a:gd name="T80" fmla="*/ 14055315 w 109"/>
                <a:gd name="T81" fmla="*/ 40076109 h 117"/>
                <a:gd name="T82" fmla="*/ 15485042 w 109"/>
                <a:gd name="T83" fmla="*/ 41500251 h 117"/>
                <a:gd name="T84" fmla="*/ 18695342 w 109"/>
                <a:gd name="T85" fmla="*/ 40076109 h 117"/>
                <a:gd name="T86" fmla="*/ 22556656 w 109"/>
                <a:gd name="T87" fmla="*/ 40076109 h 117"/>
                <a:gd name="T88" fmla="*/ 22556656 w 109"/>
                <a:gd name="T89" fmla="*/ 35833036 h 117"/>
                <a:gd name="T90" fmla="*/ 24695091 w 109"/>
                <a:gd name="T91" fmla="*/ 33679221 h 11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9"/>
                <a:gd name="T139" fmla="*/ 0 h 117"/>
                <a:gd name="T140" fmla="*/ 109 w 109"/>
                <a:gd name="T141" fmla="*/ 117 h 11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9" h="117">
                  <a:moveTo>
                    <a:pt x="70" y="95"/>
                  </a:moveTo>
                  <a:lnTo>
                    <a:pt x="78" y="87"/>
                  </a:lnTo>
                  <a:lnTo>
                    <a:pt x="86" y="82"/>
                  </a:lnTo>
                  <a:lnTo>
                    <a:pt x="91" y="73"/>
                  </a:lnTo>
                  <a:lnTo>
                    <a:pt x="96" y="68"/>
                  </a:lnTo>
                  <a:lnTo>
                    <a:pt x="96" y="61"/>
                  </a:lnTo>
                  <a:lnTo>
                    <a:pt x="109" y="48"/>
                  </a:lnTo>
                  <a:lnTo>
                    <a:pt x="109" y="39"/>
                  </a:lnTo>
                  <a:lnTo>
                    <a:pt x="104" y="34"/>
                  </a:lnTo>
                  <a:lnTo>
                    <a:pt x="95" y="29"/>
                  </a:lnTo>
                  <a:lnTo>
                    <a:pt x="82" y="24"/>
                  </a:lnTo>
                  <a:lnTo>
                    <a:pt x="77" y="24"/>
                  </a:lnTo>
                  <a:lnTo>
                    <a:pt x="82" y="18"/>
                  </a:lnTo>
                  <a:lnTo>
                    <a:pt x="77" y="18"/>
                  </a:lnTo>
                  <a:lnTo>
                    <a:pt x="77" y="13"/>
                  </a:lnTo>
                  <a:lnTo>
                    <a:pt x="67" y="8"/>
                  </a:lnTo>
                  <a:lnTo>
                    <a:pt x="67" y="4"/>
                  </a:lnTo>
                  <a:lnTo>
                    <a:pt x="63" y="4"/>
                  </a:lnTo>
                  <a:lnTo>
                    <a:pt x="58" y="4"/>
                  </a:lnTo>
                  <a:lnTo>
                    <a:pt x="53" y="4"/>
                  </a:lnTo>
                  <a:lnTo>
                    <a:pt x="49" y="8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17" y="4"/>
                  </a:lnTo>
                  <a:lnTo>
                    <a:pt x="12" y="8"/>
                  </a:lnTo>
                  <a:lnTo>
                    <a:pt x="9" y="13"/>
                  </a:lnTo>
                  <a:lnTo>
                    <a:pt x="5" y="18"/>
                  </a:lnTo>
                  <a:lnTo>
                    <a:pt x="0" y="39"/>
                  </a:lnTo>
                  <a:lnTo>
                    <a:pt x="0" y="48"/>
                  </a:lnTo>
                  <a:lnTo>
                    <a:pt x="0" y="57"/>
                  </a:lnTo>
                  <a:lnTo>
                    <a:pt x="5" y="62"/>
                  </a:lnTo>
                  <a:lnTo>
                    <a:pt x="0" y="82"/>
                  </a:lnTo>
                  <a:lnTo>
                    <a:pt x="5" y="82"/>
                  </a:lnTo>
                  <a:lnTo>
                    <a:pt x="12" y="87"/>
                  </a:lnTo>
                  <a:lnTo>
                    <a:pt x="21" y="87"/>
                  </a:lnTo>
                  <a:lnTo>
                    <a:pt x="26" y="82"/>
                  </a:lnTo>
                  <a:lnTo>
                    <a:pt x="31" y="87"/>
                  </a:lnTo>
                  <a:lnTo>
                    <a:pt x="35" y="87"/>
                  </a:lnTo>
                  <a:lnTo>
                    <a:pt x="35" y="97"/>
                  </a:lnTo>
                  <a:lnTo>
                    <a:pt x="40" y="101"/>
                  </a:lnTo>
                  <a:lnTo>
                    <a:pt x="40" y="113"/>
                  </a:lnTo>
                  <a:lnTo>
                    <a:pt x="44" y="117"/>
                  </a:lnTo>
                  <a:lnTo>
                    <a:pt x="53" y="113"/>
                  </a:lnTo>
                  <a:lnTo>
                    <a:pt x="64" y="113"/>
                  </a:lnTo>
                  <a:lnTo>
                    <a:pt x="64" y="101"/>
                  </a:lnTo>
                  <a:lnTo>
                    <a:pt x="70" y="95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3" name="Freeform 123">
              <a:extLst>
                <a:ext uri="{FF2B5EF4-FFF2-40B4-BE49-F238E27FC236}">
                  <a16:creationId xmlns:a16="http://schemas.microsoft.com/office/drawing/2014/main" id="{1135F009-B49C-3895-8FDA-8347CE373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9593" y="2374550"/>
              <a:ext cx="1807070" cy="1698455"/>
            </a:xfrm>
            <a:custGeom>
              <a:avLst/>
              <a:gdLst>
                <a:gd name="T0" fmla="*/ 0 w 182"/>
                <a:gd name="T1" fmla="*/ 9158667 h 176"/>
                <a:gd name="T2" fmla="*/ 17854328 w 182"/>
                <a:gd name="T3" fmla="*/ 7433253 h 176"/>
                <a:gd name="T4" fmla="*/ 17854328 w 182"/>
                <a:gd name="T5" fmla="*/ 1434699 h 176"/>
                <a:gd name="T6" fmla="*/ 19667491 w 182"/>
                <a:gd name="T7" fmla="*/ 0 h 176"/>
                <a:gd name="T8" fmla="*/ 22854662 w 182"/>
                <a:gd name="T9" fmla="*/ 3142882 h 176"/>
                <a:gd name="T10" fmla="*/ 22854662 w 182"/>
                <a:gd name="T11" fmla="*/ 7433253 h 176"/>
                <a:gd name="T12" fmla="*/ 24652802 w 182"/>
                <a:gd name="T13" fmla="*/ 8794887 h 176"/>
                <a:gd name="T14" fmla="*/ 25385856 w 182"/>
                <a:gd name="T15" fmla="*/ 10590336 h 176"/>
                <a:gd name="T16" fmla="*/ 27183996 w 182"/>
                <a:gd name="T17" fmla="*/ 12374610 h 176"/>
                <a:gd name="T18" fmla="*/ 65084438 w 182"/>
                <a:gd name="T19" fmla="*/ 13806899 h 176"/>
                <a:gd name="T20" fmla="*/ 61825410 w 182"/>
                <a:gd name="T21" fmla="*/ 21530248 h 176"/>
                <a:gd name="T22" fmla="*/ 61825410 w 182"/>
                <a:gd name="T23" fmla="*/ 29324266 h 176"/>
                <a:gd name="T24" fmla="*/ 63271304 w 182"/>
                <a:gd name="T25" fmla="*/ 31123333 h 176"/>
                <a:gd name="T26" fmla="*/ 61825410 w 182"/>
                <a:gd name="T27" fmla="*/ 35340134 h 176"/>
                <a:gd name="T28" fmla="*/ 60450567 w 182"/>
                <a:gd name="T29" fmla="*/ 40278956 h 176"/>
                <a:gd name="T30" fmla="*/ 58637591 w 182"/>
                <a:gd name="T31" fmla="*/ 43424725 h 176"/>
                <a:gd name="T32" fmla="*/ 56837117 w 182"/>
                <a:gd name="T33" fmla="*/ 43424725 h 176"/>
                <a:gd name="T34" fmla="*/ 55098120 w 182"/>
                <a:gd name="T35" fmla="*/ 48363645 h 176"/>
                <a:gd name="T36" fmla="*/ 53649219 w 182"/>
                <a:gd name="T37" fmla="*/ 48363645 h 176"/>
                <a:gd name="T38" fmla="*/ 52203325 w 182"/>
                <a:gd name="T39" fmla="*/ 52289786 h 176"/>
                <a:gd name="T40" fmla="*/ 48664012 w 182"/>
                <a:gd name="T41" fmla="*/ 54015777 h 176"/>
                <a:gd name="T42" fmla="*/ 48664012 w 182"/>
                <a:gd name="T43" fmla="*/ 57231629 h 176"/>
                <a:gd name="T44" fmla="*/ 48664012 w 182"/>
                <a:gd name="T45" fmla="*/ 60377526 h 176"/>
                <a:gd name="T46" fmla="*/ 45053332 w 182"/>
                <a:gd name="T47" fmla="*/ 58667058 h 176"/>
                <a:gd name="T48" fmla="*/ 45053332 w 182"/>
                <a:gd name="T49" fmla="*/ 57231629 h 176"/>
                <a:gd name="T50" fmla="*/ 40065089 w 182"/>
                <a:gd name="T51" fmla="*/ 57231629 h 176"/>
                <a:gd name="T52" fmla="*/ 38618601 w 182"/>
                <a:gd name="T53" fmla="*/ 59012881 h 176"/>
                <a:gd name="T54" fmla="*/ 30371815 w 182"/>
                <a:gd name="T55" fmla="*/ 55796910 h 176"/>
                <a:gd name="T56" fmla="*/ 30371815 w 182"/>
                <a:gd name="T57" fmla="*/ 57231629 h 176"/>
                <a:gd name="T58" fmla="*/ 27183996 w 182"/>
                <a:gd name="T59" fmla="*/ 57595384 h 176"/>
                <a:gd name="T60" fmla="*/ 25385856 w 182"/>
                <a:gd name="T61" fmla="*/ 59012881 h 176"/>
                <a:gd name="T62" fmla="*/ 24652802 w 182"/>
                <a:gd name="T63" fmla="*/ 60377526 h 176"/>
                <a:gd name="T64" fmla="*/ 22854662 w 182"/>
                <a:gd name="T65" fmla="*/ 62173551 h 176"/>
                <a:gd name="T66" fmla="*/ 21479877 w 182"/>
                <a:gd name="T67" fmla="*/ 59012881 h 176"/>
                <a:gd name="T68" fmla="*/ 17854328 w 182"/>
                <a:gd name="T69" fmla="*/ 55796910 h 176"/>
                <a:gd name="T70" fmla="*/ 19667491 w 182"/>
                <a:gd name="T71" fmla="*/ 54015777 h 176"/>
                <a:gd name="T72" fmla="*/ 19667491 w 182"/>
                <a:gd name="T73" fmla="*/ 52289786 h 176"/>
                <a:gd name="T74" fmla="*/ 8247283 w 182"/>
                <a:gd name="T75" fmla="*/ 52289786 h 176"/>
                <a:gd name="T76" fmla="*/ 8247283 w 182"/>
                <a:gd name="T77" fmla="*/ 46641248 h 176"/>
                <a:gd name="T78" fmla="*/ 6434249 w 182"/>
                <a:gd name="T79" fmla="*/ 44857152 h 176"/>
                <a:gd name="T80" fmla="*/ 6434249 w 182"/>
                <a:gd name="T81" fmla="*/ 43424725 h 176"/>
                <a:gd name="T82" fmla="*/ 8247283 w 182"/>
                <a:gd name="T83" fmla="*/ 41714257 h 176"/>
                <a:gd name="T84" fmla="*/ 6434249 w 182"/>
                <a:gd name="T85" fmla="*/ 40278956 h 176"/>
                <a:gd name="T86" fmla="*/ 6434249 w 182"/>
                <a:gd name="T87" fmla="*/ 38482911 h 176"/>
                <a:gd name="T88" fmla="*/ 4621722 w 182"/>
                <a:gd name="T89" fmla="*/ 37063025 h 176"/>
                <a:gd name="T90" fmla="*/ 6798363 w 182"/>
                <a:gd name="T91" fmla="*/ 35340134 h 176"/>
                <a:gd name="T92" fmla="*/ 8247283 w 182"/>
                <a:gd name="T93" fmla="*/ 31123333 h 176"/>
                <a:gd name="T94" fmla="*/ 9974318 w 182"/>
                <a:gd name="T95" fmla="*/ 29324266 h 176"/>
                <a:gd name="T96" fmla="*/ 9974318 w 182"/>
                <a:gd name="T97" fmla="*/ 27907382 h 176"/>
                <a:gd name="T98" fmla="*/ 8247283 w 182"/>
                <a:gd name="T99" fmla="*/ 24400257 h 176"/>
                <a:gd name="T100" fmla="*/ 8247283 w 182"/>
                <a:gd name="T101" fmla="*/ 21530248 h 176"/>
                <a:gd name="T102" fmla="*/ 3261323 w 182"/>
                <a:gd name="T103" fmla="*/ 21530248 h 176"/>
                <a:gd name="T104" fmla="*/ 0 w 182"/>
                <a:gd name="T105" fmla="*/ 17313412 h 176"/>
                <a:gd name="T106" fmla="*/ 0 w 182"/>
                <a:gd name="T107" fmla="*/ 9158667 h 17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2"/>
                <a:gd name="T163" fmla="*/ 0 h 176"/>
                <a:gd name="T164" fmla="*/ 182 w 182"/>
                <a:gd name="T165" fmla="*/ 176 h 17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2" h="176">
                  <a:moveTo>
                    <a:pt x="0" y="26"/>
                  </a:moveTo>
                  <a:lnTo>
                    <a:pt x="50" y="21"/>
                  </a:lnTo>
                  <a:cubicBezTo>
                    <a:pt x="50" y="16"/>
                    <a:pt x="50" y="9"/>
                    <a:pt x="50" y="4"/>
                  </a:cubicBezTo>
                  <a:lnTo>
                    <a:pt x="55" y="0"/>
                  </a:lnTo>
                  <a:lnTo>
                    <a:pt x="64" y="9"/>
                  </a:lnTo>
                  <a:lnTo>
                    <a:pt x="64" y="21"/>
                  </a:lnTo>
                  <a:lnTo>
                    <a:pt x="69" y="25"/>
                  </a:lnTo>
                  <a:lnTo>
                    <a:pt x="71" y="30"/>
                  </a:lnTo>
                  <a:lnTo>
                    <a:pt x="76" y="35"/>
                  </a:lnTo>
                  <a:lnTo>
                    <a:pt x="182" y="39"/>
                  </a:lnTo>
                  <a:lnTo>
                    <a:pt x="173" y="61"/>
                  </a:lnTo>
                  <a:lnTo>
                    <a:pt x="173" y="83"/>
                  </a:lnTo>
                  <a:lnTo>
                    <a:pt x="177" y="88"/>
                  </a:lnTo>
                  <a:lnTo>
                    <a:pt x="173" y="100"/>
                  </a:lnTo>
                  <a:lnTo>
                    <a:pt x="169" y="114"/>
                  </a:lnTo>
                  <a:lnTo>
                    <a:pt x="164" y="123"/>
                  </a:lnTo>
                  <a:lnTo>
                    <a:pt x="159" y="123"/>
                  </a:lnTo>
                  <a:lnTo>
                    <a:pt x="154" y="137"/>
                  </a:lnTo>
                  <a:lnTo>
                    <a:pt x="150" y="137"/>
                  </a:lnTo>
                  <a:lnTo>
                    <a:pt x="146" y="148"/>
                  </a:lnTo>
                  <a:lnTo>
                    <a:pt x="136" y="153"/>
                  </a:lnTo>
                  <a:lnTo>
                    <a:pt x="136" y="162"/>
                  </a:lnTo>
                  <a:lnTo>
                    <a:pt x="136" y="171"/>
                  </a:lnTo>
                  <a:lnTo>
                    <a:pt x="126" y="166"/>
                  </a:lnTo>
                  <a:lnTo>
                    <a:pt x="126" y="162"/>
                  </a:lnTo>
                  <a:cubicBezTo>
                    <a:pt x="122" y="162"/>
                    <a:pt x="117" y="162"/>
                    <a:pt x="112" y="162"/>
                  </a:cubicBezTo>
                  <a:lnTo>
                    <a:pt x="108" y="167"/>
                  </a:lnTo>
                  <a:lnTo>
                    <a:pt x="85" y="158"/>
                  </a:lnTo>
                  <a:lnTo>
                    <a:pt x="85" y="162"/>
                  </a:lnTo>
                  <a:lnTo>
                    <a:pt x="76" y="163"/>
                  </a:lnTo>
                  <a:lnTo>
                    <a:pt x="71" y="167"/>
                  </a:lnTo>
                  <a:lnTo>
                    <a:pt x="69" y="171"/>
                  </a:lnTo>
                  <a:lnTo>
                    <a:pt x="64" y="176"/>
                  </a:lnTo>
                  <a:lnTo>
                    <a:pt x="60" y="167"/>
                  </a:lnTo>
                  <a:lnTo>
                    <a:pt x="50" y="158"/>
                  </a:lnTo>
                  <a:lnTo>
                    <a:pt x="55" y="153"/>
                  </a:lnTo>
                  <a:lnTo>
                    <a:pt x="55" y="148"/>
                  </a:lnTo>
                  <a:lnTo>
                    <a:pt x="23" y="14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8" y="123"/>
                  </a:lnTo>
                  <a:lnTo>
                    <a:pt x="23" y="118"/>
                  </a:lnTo>
                  <a:lnTo>
                    <a:pt x="18" y="114"/>
                  </a:lnTo>
                  <a:lnTo>
                    <a:pt x="18" y="109"/>
                  </a:lnTo>
                  <a:lnTo>
                    <a:pt x="13" y="105"/>
                  </a:lnTo>
                  <a:lnTo>
                    <a:pt x="19" y="100"/>
                  </a:lnTo>
                  <a:lnTo>
                    <a:pt x="23" y="88"/>
                  </a:lnTo>
                  <a:lnTo>
                    <a:pt x="28" y="83"/>
                  </a:lnTo>
                  <a:lnTo>
                    <a:pt x="28" y="79"/>
                  </a:lnTo>
                  <a:lnTo>
                    <a:pt x="23" y="69"/>
                  </a:lnTo>
                  <a:lnTo>
                    <a:pt x="23" y="61"/>
                  </a:lnTo>
                  <a:lnTo>
                    <a:pt x="9" y="61"/>
                  </a:lnTo>
                  <a:lnTo>
                    <a:pt x="0" y="49"/>
                  </a:lnTo>
                  <a:lnTo>
                    <a:pt x="0" y="26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4" name="Freeform 124">
              <a:extLst>
                <a:ext uri="{FF2B5EF4-FFF2-40B4-BE49-F238E27FC236}">
                  <a16:creationId xmlns:a16="http://schemas.microsoft.com/office/drawing/2014/main" id="{0B2A6432-6E94-07A7-B681-721493748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8910" y="4315364"/>
              <a:ext cx="1347269" cy="848251"/>
            </a:xfrm>
            <a:custGeom>
              <a:avLst/>
              <a:gdLst>
                <a:gd name="T0" fmla="*/ 33019313 w 136"/>
                <a:gd name="T1" fmla="*/ 25900233 h 88"/>
                <a:gd name="T2" fmla="*/ 27405986 w 136"/>
                <a:gd name="T3" fmla="*/ 30792773 h 88"/>
                <a:gd name="T4" fmla="*/ 25616450 w 136"/>
                <a:gd name="T5" fmla="*/ 29022093 h 88"/>
                <a:gd name="T6" fmla="*/ 24189628 w 136"/>
                <a:gd name="T7" fmla="*/ 30792773 h 88"/>
                <a:gd name="T8" fmla="*/ 24189628 w 136"/>
                <a:gd name="T9" fmla="*/ 29022093 h 88"/>
                <a:gd name="T10" fmla="*/ 21058467 w 136"/>
                <a:gd name="T11" fmla="*/ 27326653 h 88"/>
                <a:gd name="T12" fmla="*/ 19286717 w 136"/>
                <a:gd name="T13" fmla="*/ 27326653 h 88"/>
                <a:gd name="T14" fmla="*/ 21058467 w 136"/>
                <a:gd name="T15" fmla="*/ 25900233 h 88"/>
                <a:gd name="T16" fmla="*/ 19646432 w 136"/>
                <a:gd name="T17" fmla="*/ 24476260 h 88"/>
                <a:gd name="T18" fmla="*/ 17582467 w 136"/>
                <a:gd name="T19" fmla="*/ 20304303 h 88"/>
                <a:gd name="T20" fmla="*/ 16155655 w 136"/>
                <a:gd name="T21" fmla="*/ 18518275 h 88"/>
                <a:gd name="T22" fmla="*/ 13024464 w 136"/>
                <a:gd name="T23" fmla="*/ 18518275 h 88"/>
                <a:gd name="T24" fmla="*/ 9463797 w 136"/>
                <a:gd name="T25" fmla="*/ 17167589 h 88"/>
                <a:gd name="T26" fmla="*/ 4558008 w 136"/>
                <a:gd name="T27" fmla="*/ 17167589 h 88"/>
                <a:gd name="T28" fmla="*/ 1774745 w 136"/>
                <a:gd name="T29" fmla="*/ 15396446 h 88"/>
                <a:gd name="T30" fmla="*/ 0 w 136"/>
                <a:gd name="T31" fmla="*/ 15396446 h 88"/>
                <a:gd name="T32" fmla="*/ 2768487 w 136"/>
                <a:gd name="T33" fmla="*/ 13625766 h 88"/>
                <a:gd name="T34" fmla="*/ 4558008 w 136"/>
                <a:gd name="T35" fmla="*/ 10503817 h 88"/>
                <a:gd name="T36" fmla="*/ 6332755 w 136"/>
                <a:gd name="T37" fmla="*/ 8735547 h 88"/>
                <a:gd name="T38" fmla="*/ 6332755 w 136"/>
                <a:gd name="T39" fmla="*/ 6316515 h 88"/>
                <a:gd name="T40" fmla="*/ 10890123 w 136"/>
                <a:gd name="T41" fmla="*/ 1771263 h 88"/>
                <a:gd name="T42" fmla="*/ 14380910 w 136"/>
                <a:gd name="T43" fmla="*/ 0 h 88"/>
                <a:gd name="T44" fmla="*/ 16155655 w 136"/>
                <a:gd name="T45" fmla="*/ 1771263 h 88"/>
                <a:gd name="T46" fmla="*/ 19286717 w 136"/>
                <a:gd name="T47" fmla="*/ 1771263 h 88"/>
                <a:gd name="T48" fmla="*/ 21058467 w 136"/>
                <a:gd name="T49" fmla="*/ 1771263 h 88"/>
                <a:gd name="T50" fmla="*/ 22847984 w 136"/>
                <a:gd name="T51" fmla="*/ 3121861 h 88"/>
                <a:gd name="T52" fmla="*/ 24189628 w 136"/>
                <a:gd name="T53" fmla="*/ 1771263 h 88"/>
                <a:gd name="T54" fmla="*/ 27405986 w 136"/>
                <a:gd name="T55" fmla="*/ 1771263 h 88"/>
                <a:gd name="T56" fmla="*/ 29180109 w 136"/>
                <a:gd name="T57" fmla="*/ 1771263 h 88"/>
                <a:gd name="T58" fmla="*/ 30881982 w 136"/>
                <a:gd name="T59" fmla="*/ 1771263 h 88"/>
                <a:gd name="T60" fmla="*/ 32311783 w 136"/>
                <a:gd name="T61" fmla="*/ 3121861 h 88"/>
                <a:gd name="T62" fmla="*/ 32311783 w 136"/>
                <a:gd name="T63" fmla="*/ 9438350 h 88"/>
                <a:gd name="T64" fmla="*/ 33019313 w 136"/>
                <a:gd name="T65" fmla="*/ 10865349 h 88"/>
                <a:gd name="T66" fmla="*/ 34445641 w 136"/>
                <a:gd name="T67" fmla="*/ 10865349 h 88"/>
                <a:gd name="T68" fmla="*/ 33019313 w 136"/>
                <a:gd name="T69" fmla="*/ 13987209 h 88"/>
                <a:gd name="T70" fmla="*/ 36147494 w 136"/>
                <a:gd name="T71" fmla="*/ 17167589 h 88"/>
                <a:gd name="T72" fmla="*/ 36147494 w 136"/>
                <a:gd name="T73" fmla="*/ 18880330 h 88"/>
                <a:gd name="T74" fmla="*/ 37936419 w 136"/>
                <a:gd name="T75" fmla="*/ 18880330 h 88"/>
                <a:gd name="T76" fmla="*/ 39711154 w 136"/>
                <a:gd name="T77" fmla="*/ 17167589 h 88"/>
                <a:gd name="T78" fmla="*/ 42839325 w 136"/>
                <a:gd name="T79" fmla="*/ 17167589 h 88"/>
                <a:gd name="T80" fmla="*/ 44628841 w 136"/>
                <a:gd name="T81" fmla="*/ 15396446 h 88"/>
                <a:gd name="T82" fmla="*/ 44628841 w 136"/>
                <a:gd name="T83" fmla="*/ 17167589 h 88"/>
                <a:gd name="T84" fmla="*/ 47759923 w 136"/>
                <a:gd name="T85" fmla="*/ 17167589 h 88"/>
                <a:gd name="T86" fmla="*/ 45970406 w 136"/>
                <a:gd name="T87" fmla="*/ 18518275 h 88"/>
                <a:gd name="T88" fmla="*/ 44628841 w 136"/>
                <a:gd name="T89" fmla="*/ 18518275 h 88"/>
                <a:gd name="T90" fmla="*/ 39711154 w 136"/>
                <a:gd name="T91" fmla="*/ 24476260 h 88"/>
                <a:gd name="T92" fmla="*/ 38281352 w 136"/>
                <a:gd name="T93" fmla="*/ 24476260 h 88"/>
                <a:gd name="T94" fmla="*/ 33019313 w 136"/>
                <a:gd name="T95" fmla="*/ 25900233 h 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6"/>
                <a:gd name="T145" fmla="*/ 0 h 88"/>
                <a:gd name="T146" fmla="*/ 136 w 136"/>
                <a:gd name="T147" fmla="*/ 88 h 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6" h="88">
                  <a:moveTo>
                    <a:pt x="94" y="74"/>
                  </a:moveTo>
                  <a:lnTo>
                    <a:pt x="78" y="88"/>
                  </a:lnTo>
                  <a:lnTo>
                    <a:pt x="73" y="83"/>
                  </a:lnTo>
                  <a:lnTo>
                    <a:pt x="69" y="88"/>
                  </a:lnTo>
                  <a:lnTo>
                    <a:pt x="69" y="83"/>
                  </a:lnTo>
                  <a:lnTo>
                    <a:pt x="60" y="78"/>
                  </a:lnTo>
                  <a:lnTo>
                    <a:pt x="55" y="78"/>
                  </a:lnTo>
                  <a:lnTo>
                    <a:pt x="60" y="74"/>
                  </a:lnTo>
                  <a:lnTo>
                    <a:pt x="56" y="70"/>
                  </a:lnTo>
                  <a:lnTo>
                    <a:pt x="50" y="58"/>
                  </a:lnTo>
                  <a:lnTo>
                    <a:pt x="46" y="53"/>
                  </a:lnTo>
                  <a:lnTo>
                    <a:pt x="37" y="53"/>
                  </a:lnTo>
                  <a:lnTo>
                    <a:pt x="27" y="49"/>
                  </a:lnTo>
                  <a:lnTo>
                    <a:pt x="13" y="49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8" y="39"/>
                  </a:lnTo>
                  <a:lnTo>
                    <a:pt x="13" y="30"/>
                  </a:lnTo>
                  <a:lnTo>
                    <a:pt x="18" y="25"/>
                  </a:lnTo>
                  <a:lnTo>
                    <a:pt x="18" y="18"/>
                  </a:lnTo>
                  <a:lnTo>
                    <a:pt x="31" y="5"/>
                  </a:lnTo>
                  <a:lnTo>
                    <a:pt x="41" y="0"/>
                  </a:lnTo>
                  <a:lnTo>
                    <a:pt x="46" y="5"/>
                  </a:lnTo>
                  <a:lnTo>
                    <a:pt x="55" y="5"/>
                  </a:lnTo>
                  <a:lnTo>
                    <a:pt x="60" y="5"/>
                  </a:lnTo>
                  <a:lnTo>
                    <a:pt x="65" y="9"/>
                  </a:lnTo>
                  <a:lnTo>
                    <a:pt x="69" y="5"/>
                  </a:lnTo>
                  <a:lnTo>
                    <a:pt x="78" y="5"/>
                  </a:lnTo>
                  <a:lnTo>
                    <a:pt x="83" y="5"/>
                  </a:lnTo>
                  <a:lnTo>
                    <a:pt x="88" y="5"/>
                  </a:lnTo>
                  <a:lnTo>
                    <a:pt x="92" y="9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8" y="31"/>
                  </a:lnTo>
                  <a:lnTo>
                    <a:pt x="94" y="40"/>
                  </a:lnTo>
                  <a:lnTo>
                    <a:pt x="103" y="49"/>
                  </a:lnTo>
                  <a:lnTo>
                    <a:pt x="103" y="54"/>
                  </a:lnTo>
                  <a:lnTo>
                    <a:pt x="108" y="54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7" y="44"/>
                  </a:lnTo>
                  <a:lnTo>
                    <a:pt x="127" y="49"/>
                  </a:lnTo>
                  <a:lnTo>
                    <a:pt x="136" y="49"/>
                  </a:lnTo>
                  <a:lnTo>
                    <a:pt x="131" y="53"/>
                  </a:lnTo>
                  <a:lnTo>
                    <a:pt x="127" y="53"/>
                  </a:lnTo>
                  <a:lnTo>
                    <a:pt x="113" y="70"/>
                  </a:lnTo>
                  <a:lnTo>
                    <a:pt x="109" y="70"/>
                  </a:lnTo>
                  <a:lnTo>
                    <a:pt x="94" y="74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Freeform 125">
              <a:extLst>
                <a:ext uri="{FF2B5EF4-FFF2-40B4-BE49-F238E27FC236}">
                  <a16:creationId xmlns:a16="http://schemas.microsoft.com/office/drawing/2014/main" id="{A42F7B69-C373-D12E-1917-F56E3F7A88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7600" y="4516677"/>
              <a:ext cx="648537" cy="377218"/>
            </a:xfrm>
            <a:custGeom>
              <a:avLst/>
              <a:gdLst>
                <a:gd name="T0" fmla="*/ 7032912 w 65"/>
                <a:gd name="T1" fmla="*/ 6829349 h 39"/>
                <a:gd name="T2" fmla="*/ 2242097 w 65"/>
                <a:gd name="T3" fmla="*/ 8283802 h 39"/>
                <a:gd name="T4" fmla="*/ 2242097 w 65"/>
                <a:gd name="T5" fmla="*/ 10105815 h 39"/>
                <a:gd name="T6" fmla="*/ 5617740 w 65"/>
                <a:gd name="T7" fmla="*/ 10105815 h 39"/>
                <a:gd name="T8" fmla="*/ 4111650 w 65"/>
                <a:gd name="T9" fmla="*/ 11486450 h 39"/>
                <a:gd name="T10" fmla="*/ 2242097 w 65"/>
                <a:gd name="T11" fmla="*/ 11486450 h 39"/>
                <a:gd name="T12" fmla="*/ 0 w 65"/>
                <a:gd name="T13" fmla="*/ 14027002 h 39"/>
                <a:gd name="T14" fmla="*/ 1866488 w 65"/>
                <a:gd name="T15" fmla="*/ 14027002 h 39"/>
                <a:gd name="T16" fmla="*/ 3372582 w 65"/>
                <a:gd name="T17" fmla="*/ 12572574 h 39"/>
                <a:gd name="T18" fmla="*/ 5239070 w 65"/>
                <a:gd name="T19" fmla="*/ 14027002 h 39"/>
                <a:gd name="T20" fmla="*/ 6653645 w 65"/>
                <a:gd name="T21" fmla="*/ 12204271 h 39"/>
                <a:gd name="T22" fmla="*/ 8523193 w 65"/>
                <a:gd name="T23" fmla="*/ 14027002 h 39"/>
                <a:gd name="T24" fmla="*/ 8523193 w 65"/>
                <a:gd name="T25" fmla="*/ 12204271 h 39"/>
                <a:gd name="T26" fmla="*/ 10404896 w 65"/>
                <a:gd name="T27" fmla="*/ 12204271 h 39"/>
                <a:gd name="T28" fmla="*/ 10404896 w 65"/>
                <a:gd name="T29" fmla="*/ 14027002 h 39"/>
                <a:gd name="T30" fmla="*/ 11895771 w 65"/>
                <a:gd name="T31" fmla="*/ 14027002 h 39"/>
                <a:gd name="T32" fmla="*/ 17134720 w 65"/>
                <a:gd name="T33" fmla="*/ 12204271 h 39"/>
                <a:gd name="T34" fmla="*/ 17134720 w 65"/>
                <a:gd name="T35" fmla="*/ 10749942 h 39"/>
                <a:gd name="T36" fmla="*/ 22298210 w 65"/>
                <a:gd name="T37" fmla="*/ 9019671 h 39"/>
                <a:gd name="T38" fmla="*/ 22298210 w 65"/>
                <a:gd name="T39" fmla="*/ 7197653 h 39"/>
                <a:gd name="T40" fmla="*/ 24167654 w 65"/>
                <a:gd name="T41" fmla="*/ 3555921 h 39"/>
                <a:gd name="T42" fmla="*/ 18925620 w 65"/>
                <a:gd name="T43" fmla="*/ 2172269 h 39"/>
                <a:gd name="T44" fmla="*/ 18925620 w 65"/>
                <a:gd name="T45" fmla="*/ 0 h 39"/>
                <a:gd name="T46" fmla="*/ 17134720 w 65"/>
                <a:gd name="T47" fmla="*/ 2172269 h 39"/>
                <a:gd name="T48" fmla="*/ 15643961 w 65"/>
                <a:gd name="T49" fmla="*/ 5009755 h 39"/>
                <a:gd name="T50" fmla="*/ 10781124 w 65"/>
                <a:gd name="T51" fmla="*/ 6829349 h 39"/>
                <a:gd name="T52" fmla="*/ 7032912 w 65"/>
                <a:gd name="T53" fmla="*/ 6829349 h 3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39"/>
                <a:gd name="T83" fmla="*/ 65 w 65"/>
                <a:gd name="T84" fmla="*/ 39 h 3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39">
                  <a:moveTo>
                    <a:pt x="19" y="19"/>
                  </a:moveTo>
                  <a:lnTo>
                    <a:pt x="6" y="23"/>
                  </a:lnTo>
                  <a:lnTo>
                    <a:pt x="6" y="28"/>
                  </a:lnTo>
                  <a:lnTo>
                    <a:pt x="15" y="28"/>
                  </a:lnTo>
                  <a:lnTo>
                    <a:pt x="11" y="32"/>
                  </a:lnTo>
                  <a:lnTo>
                    <a:pt x="6" y="32"/>
                  </a:lnTo>
                  <a:lnTo>
                    <a:pt x="0" y="39"/>
                  </a:lnTo>
                  <a:lnTo>
                    <a:pt x="5" y="39"/>
                  </a:lnTo>
                  <a:lnTo>
                    <a:pt x="9" y="35"/>
                  </a:lnTo>
                  <a:lnTo>
                    <a:pt x="14" y="39"/>
                  </a:lnTo>
                  <a:lnTo>
                    <a:pt x="18" y="34"/>
                  </a:lnTo>
                  <a:lnTo>
                    <a:pt x="23" y="39"/>
                  </a:lnTo>
                  <a:lnTo>
                    <a:pt x="23" y="34"/>
                  </a:lnTo>
                  <a:lnTo>
                    <a:pt x="28" y="34"/>
                  </a:lnTo>
                  <a:lnTo>
                    <a:pt x="28" y="39"/>
                  </a:lnTo>
                  <a:lnTo>
                    <a:pt x="32" y="39"/>
                  </a:lnTo>
                  <a:lnTo>
                    <a:pt x="46" y="34"/>
                  </a:lnTo>
                  <a:lnTo>
                    <a:pt x="46" y="30"/>
                  </a:lnTo>
                  <a:lnTo>
                    <a:pt x="60" y="25"/>
                  </a:lnTo>
                  <a:lnTo>
                    <a:pt x="60" y="20"/>
                  </a:lnTo>
                  <a:lnTo>
                    <a:pt x="65" y="10"/>
                  </a:lnTo>
                  <a:lnTo>
                    <a:pt x="51" y="6"/>
                  </a:lnTo>
                  <a:lnTo>
                    <a:pt x="51" y="0"/>
                  </a:lnTo>
                  <a:lnTo>
                    <a:pt x="46" y="6"/>
                  </a:lnTo>
                  <a:lnTo>
                    <a:pt x="42" y="14"/>
                  </a:lnTo>
                  <a:lnTo>
                    <a:pt x="29" y="19"/>
                  </a:lnTo>
                  <a:lnTo>
                    <a:pt x="19" y="19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6" name="Freeform 126">
              <a:extLst>
                <a:ext uri="{FF2B5EF4-FFF2-40B4-BE49-F238E27FC236}">
                  <a16:creationId xmlns:a16="http://schemas.microsoft.com/office/drawing/2014/main" id="{5039E339-2AB1-F755-08D4-1947079C9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579" y="4073005"/>
              <a:ext cx="379484" cy="539440"/>
            </a:xfrm>
            <a:custGeom>
              <a:avLst/>
              <a:gdLst>
                <a:gd name="T0" fmla="*/ 14228954 w 38"/>
                <a:gd name="T1" fmla="*/ 2119981 h 56"/>
                <a:gd name="T2" fmla="*/ 10838176 w 38"/>
                <a:gd name="T3" fmla="*/ 0 h 56"/>
                <a:gd name="T4" fmla="*/ 5268181 w 38"/>
                <a:gd name="T5" fmla="*/ 357607 h 56"/>
                <a:gd name="T6" fmla="*/ 5268181 w 38"/>
                <a:gd name="T7" fmla="*/ 9401787 h 56"/>
                <a:gd name="T8" fmla="*/ 3767750 w 38"/>
                <a:gd name="T9" fmla="*/ 12225717 h 56"/>
                <a:gd name="T10" fmla="*/ 2255023 w 38"/>
                <a:gd name="T11" fmla="*/ 12225717 h 56"/>
                <a:gd name="T12" fmla="*/ 377592 w 38"/>
                <a:gd name="T13" fmla="*/ 13917932 h 56"/>
                <a:gd name="T14" fmla="*/ 0 w 38"/>
                <a:gd name="T15" fmla="*/ 16038035 h 56"/>
                <a:gd name="T16" fmla="*/ 0 w 38"/>
                <a:gd name="T17" fmla="*/ 18431211 h 56"/>
                <a:gd name="T18" fmla="*/ 5268181 w 38"/>
                <a:gd name="T19" fmla="*/ 19492647 h 56"/>
                <a:gd name="T20" fmla="*/ 9340692 w 38"/>
                <a:gd name="T21" fmla="*/ 15680428 h 56"/>
                <a:gd name="T22" fmla="*/ 9340692 w 38"/>
                <a:gd name="T23" fmla="*/ 13917932 h 56"/>
                <a:gd name="T24" fmla="*/ 12731468 w 38"/>
                <a:gd name="T25" fmla="*/ 10806664 h 56"/>
                <a:gd name="T26" fmla="*/ 12731468 w 38"/>
                <a:gd name="T27" fmla="*/ 7625156 h 56"/>
                <a:gd name="T28" fmla="*/ 14228954 w 38"/>
                <a:gd name="T29" fmla="*/ 2119981 h 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56"/>
                <a:gd name="T47" fmla="*/ 38 w 38"/>
                <a:gd name="T48" fmla="*/ 56 h 5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56">
                  <a:moveTo>
                    <a:pt x="38" y="6"/>
                  </a:moveTo>
                  <a:lnTo>
                    <a:pt x="29" y="0"/>
                  </a:lnTo>
                  <a:lnTo>
                    <a:pt x="14" y="1"/>
                  </a:lnTo>
                  <a:lnTo>
                    <a:pt x="14" y="27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1" y="40"/>
                  </a:lnTo>
                  <a:lnTo>
                    <a:pt x="0" y="46"/>
                  </a:lnTo>
                  <a:lnTo>
                    <a:pt x="0" y="53"/>
                  </a:lnTo>
                  <a:lnTo>
                    <a:pt x="14" y="56"/>
                  </a:lnTo>
                  <a:lnTo>
                    <a:pt x="25" y="45"/>
                  </a:lnTo>
                  <a:lnTo>
                    <a:pt x="25" y="40"/>
                  </a:lnTo>
                  <a:lnTo>
                    <a:pt x="34" y="31"/>
                  </a:lnTo>
                  <a:lnTo>
                    <a:pt x="34" y="22"/>
                  </a:lnTo>
                  <a:lnTo>
                    <a:pt x="38" y="6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7" name="Freeform 127">
              <a:extLst>
                <a:ext uri="{FF2B5EF4-FFF2-40B4-BE49-F238E27FC236}">
                  <a16:creationId xmlns:a16="http://schemas.microsoft.com/office/drawing/2014/main" id="{87C06E6C-E439-46FC-0BDA-DC6F5CD69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6114" y="3471021"/>
              <a:ext cx="1776952" cy="1362282"/>
            </a:xfrm>
            <a:custGeom>
              <a:avLst/>
              <a:gdLst>
                <a:gd name="T0" fmla="*/ 0 w 179"/>
                <a:gd name="T1" fmla="*/ 32813589 h 141"/>
                <a:gd name="T2" fmla="*/ 1811165 w 179"/>
                <a:gd name="T3" fmla="*/ 27840313 h 141"/>
                <a:gd name="T4" fmla="*/ 8588316 w 179"/>
                <a:gd name="T5" fmla="*/ 24599176 h 141"/>
                <a:gd name="T6" fmla="*/ 11772528 w 179"/>
                <a:gd name="T7" fmla="*/ 22426870 h 141"/>
                <a:gd name="T8" fmla="*/ 18198486 w 179"/>
                <a:gd name="T9" fmla="*/ 24599176 h 141"/>
                <a:gd name="T10" fmla="*/ 21808716 w 179"/>
                <a:gd name="T11" fmla="*/ 18896695 h 141"/>
                <a:gd name="T12" fmla="*/ 20009522 w 179"/>
                <a:gd name="T13" fmla="*/ 17450554 h 141"/>
                <a:gd name="T14" fmla="*/ 21808716 w 179"/>
                <a:gd name="T15" fmla="*/ 10679286 h 141"/>
                <a:gd name="T16" fmla="*/ 24260413 w 179"/>
                <a:gd name="T17" fmla="*/ 6420126 h 141"/>
                <a:gd name="T18" fmla="*/ 24260413 w 179"/>
                <a:gd name="T19" fmla="*/ 3182037 h 141"/>
                <a:gd name="T20" fmla="*/ 25708134 w 179"/>
                <a:gd name="T21" fmla="*/ 1809229 h 141"/>
                <a:gd name="T22" fmla="*/ 29241389 w 179"/>
                <a:gd name="T23" fmla="*/ 3182037 h 141"/>
                <a:gd name="T24" fmla="*/ 30689248 w 179"/>
                <a:gd name="T25" fmla="*/ 3182037 h 141"/>
                <a:gd name="T26" fmla="*/ 40721803 w 179"/>
                <a:gd name="T27" fmla="*/ 0 h 141"/>
                <a:gd name="T28" fmla="*/ 42461771 w 179"/>
                <a:gd name="T29" fmla="*/ 3182037 h 141"/>
                <a:gd name="T30" fmla="*/ 43906605 w 179"/>
                <a:gd name="T31" fmla="*/ 1809229 h 141"/>
                <a:gd name="T32" fmla="*/ 50698142 w 179"/>
                <a:gd name="T33" fmla="*/ 4976307 h 141"/>
                <a:gd name="T34" fmla="*/ 55679138 w 179"/>
                <a:gd name="T35" fmla="*/ 7863355 h 141"/>
                <a:gd name="T36" fmla="*/ 62104968 w 179"/>
                <a:gd name="T37" fmla="*/ 12110548 h 141"/>
                <a:gd name="T38" fmla="*/ 63918554 w 179"/>
                <a:gd name="T39" fmla="*/ 13919801 h 141"/>
                <a:gd name="T40" fmla="*/ 58923161 w 179"/>
                <a:gd name="T41" fmla="*/ 17101837 h 141"/>
                <a:gd name="T42" fmla="*/ 60734296 w 179"/>
                <a:gd name="T43" fmla="*/ 20339919 h 141"/>
                <a:gd name="T44" fmla="*/ 55679138 w 179"/>
                <a:gd name="T45" fmla="*/ 22426870 h 141"/>
                <a:gd name="T46" fmla="*/ 53942165 w 179"/>
                <a:gd name="T47" fmla="*/ 34552391 h 141"/>
                <a:gd name="T48" fmla="*/ 50698142 w 179"/>
                <a:gd name="T49" fmla="*/ 36346656 h 141"/>
                <a:gd name="T50" fmla="*/ 48520786 w 179"/>
                <a:gd name="T51" fmla="*/ 40679957 h 141"/>
                <a:gd name="T52" fmla="*/ 42461771 w 179"/>
                <a:gd name="T53" fmla="*/ 45290289 h 141"/>
                <a:gd name="T54" fmla="*/ 34295993 w 179"/>
                <a:gd name="T55" fmla="*/ 46733958 h 141"/>
                <a:gd name="T56" fmla="*/ 29241389 w 179"/>
                <a:gd name="T57" fmla="*/ 48472167 h 141"/>
                <a:gd name="T58" fmla="*/ 25708134 w 179"/>
                <a:gd name="T59" fmla="*/ 50267163 h 141"/>
                <a:gd name="T60" fmla="*/ 24260413 w 179"/>
                <a:gd name="T61" fmla="*/ 47100076 h 141"/>
                <a:gd name="T62" fmla="*/ 23911990 w 179"/>
                <a:gd name="T63" fmla="*/ 42049646 h 141"/>
                <a:gd name="T64" fmla="*/ 21442376 w 179"/>
                <a:gd name="T65" fmla="*/ 40679957 h 141"/>
                <a:gd name="T66" fmla="*/ 20360842 w 179"/>
                <a:gd name="T67" fmla="*/ 32813589 h 141"/>
                <a:gd name="T68" fmla="*/ 12138849 w 179"/>
                <a:gd name="T69" fmla="*/ 34259849 h 141"/>
                <a:gd name="T70" fmla="*/ 5347299 w 179"/>
                <a:gd name="T71" fmla="*/ 32813589 h 14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9"/>
                <a:gd name="T109" fmla="*/ 0 h 141"/>
                <a:gd name="T110" fmla="*/ 179 w 179"/>
                <a:gd name="T111" fmla="*/ 141 h 14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9" h="141">
                  <a:moveTo>
                    <a:pt x="10" y="87"/>
                  </a:moveTo>
                  <a:lnTo>
                    <a:pt x="0" y="92"/>
                  </a:lnTo>
                  <a:lnTo>
                    <a:pt x="1" y="83"/>
                  </a:lnTo>
                  <a:lnTo>
                    <a:pt x="5" y="78"/>
                  </a:lnTo>
                  <a:lnTo>
                    <a:pt x="10" y="69"/>
                  </a:lnTo>
                  <a:lnTo>
                    <a:pt x="24" y="69"/>
                  </a:lnTo>
                  <a:lnTo>
                    <a:pt x="28" y="69"/>
                  </a:lnTo>
                  <a:lnTo>
                    <a:pt x="33" y="63"/>
                  </a:lnTo>
                  <a:lnTo>
                    <a:pt x="43" y="69"/>
                  </a:lnTo>
                  <a:lnTo>
                    <a:pt x="51" y="69"/>
                  </a:lnTo>
                  <a:lnTo>
                    <a:pt x="61" y="58"/>
                  </a:lnTo>
                  <a:lnTo>
                    <a:pt x="61" y="53"/>
                  </a:lnTo>
                  <a:lnTo>
                    <a:pt x="56" y="53"/>
                  </a:lnTo>
                  <a:lnTo>
                    <a:pt x="56" y="49"/>
                  </a:lnTo>
                  <a:lnTo>
                    <a:pt x="61" y="44"/>
                  </a:lnTo>
                  <a:cubicBezTo>
                    <a:pt x="61" y="40"/>
                    <a:pt x="61" y="35"/>
                    <a:pt x="61" y="30"/>
                  </a:cubicBezTo>
                  <a:lnTo>
                    <a:pt x="68" y="23"/>
                  </a:lnTo>
                  <a:lnTo>
                    <a:pt x="68" y="18"/>
                  </a:lnTo>
                  <a:lnTo>
                    <a:pt x="63" y="14"/>
                  </a:lnTo>
                  <a:lnTo>
                    <a:pt x="68" y="9"/>
                  </a:lnTo>
                  <a:lnTo>
                    <a:pt x="72" y="9"/>
                  </a:lnTo>
                  <a:lnTo>
                    <a:pt x="72" y="5"/>
                  </a:lnTo>
                  <a:lnTo>
                    <a:pt x="77" y="9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105" y="0"/>
                  </a:lnTo>
                  <a:lnTo>
                    <a:pt x="114" y="0"/>
                  </a:lnTo>
                  <a:lnTo>
                    <a:pt x="114" y="5"/>
                  </a:lnTo>
                  <a:lnTo>
                    <a:pt x="119" y="9"/>
                  </a:lnTo>
                  <a:lnTo>
                    <a:pt x="123" y="9"/>
                  </a:lnTo>
                  <a:lnTo>
                    <a:pt x="123" y="5"/>
                  </a:lnTo>
                  <a:lnTo>
                    <a:pt x="133" y="9"/>
                  </a:lnTo>
                  <a:lnTo>
                    <a:pt x="142" y="14"/>
                  </a:lnTo>
                  <a:lnTo>
                    <a:pt x="151" y="14"/>
                  </a:lnTo>
                  <a:lnTo>
                    <a:pt x="156" y="22"/>
                  </a:lnTo>
                  <a:lnTo>
                    <a:pt x="170" y="29"/>
                  </a:lnTo>
                  <a:lnTo>
                    <a:pt x="174" y="34"/>
                  </a:lnTo>
                  <a:lnTo>
                    <a:pt x="179" y="34"/>
                  </a:lnTo>
                  <a:lnTo>
                    <a:pt x="179" y="39"/>
                  </a:lnTo>
                  <a:lnTo>
                    <a:pt x="175" y="38"/>
                  </a:lnTo>
                  <a:lnTo>
                    <a:pt x="165" y="48"/>
                  </a:lnTo>
                  <a:lnTo>
                    <a:pt x="165" y="52"/>
                  </a:lnTo>
                  <a:lnTo>
                    <a:pt x="170" y="57"/>
                  </a:lnTo>
                  <a:lnTo>
                    <a:pt x="170" y="62"/>
                  </a:lnTo>
                  <a:lnTo>
                    <a:pt x="156" y="63"/>
                  </a:lnTo>
                  <a:lnTo>
                    <a:pt x="155" y="89"/>
                  </a:lnTo>
                  <a:lnTo>
                    <a:pt x="151" y="97"/>
                  </a:lnTo>
                  <a:lnTo>
                    <a:pt x="147" y="97"/>
                  </a:lnTo>
                  <a:lnTo>
                    <a:pt x="142" y="102"/>
                  </a:lnTo>
                  <a:lnTo>
                    <a:pt x="141" y="108"/>
                  </a:lnTo>
                  <a:lnTo>
                    <a:pt x="136" y="114"/>
                  </a:lnTo>
                  <a:lnTo>
                    <a:pt x="132" y="122"/>
                  </a:lnTo>
                  <a:lnTo>
                    <a:pt x="119" y="127"/>
                  </a:lnTo>
                  <a:lnTo>
                    <a:pt x="109" y="127"/>
                  </a:lnTo>
                  <a:lnTo>
                    <a:pt x="96" y="131"/>
                  </a:lnTo>
                  <a:lnTo>
                    <a:pt x="91" y="136"/>
                  </a:lnTo>
                  <a:lnTo>
                    <a:pt x="82" y="136"/>
                  </a:lnTo>
                  <a:lnTo>
                    <a:pt x="77" y="141"/>
                  </a:lnTo>
                  <a:lnTo>
                    <a:pt x="72" y="141"/>
                  </a:lnTo>
                  <a:lnTo>
                    <a:pt x="72" y="136"/>
                  </a:lnTo>
                  <a:lnTo>
                    <a:pt x="68" y="132"/>
                  </a:lnTo>
                  <a:lnTo>
                    <a:pt x="63" y="127"/>
                  </a:lnTo>
                  <a:lnTo>
                    <a:pt x="67" y="118"/>
                  </a:lnTo>
                  <a:lnTo>
                    <a:pt x="63" y="118"/>
                  </a:lnTo>
                  <a:lnTo>
                    <a:pt x="60" y="114"/>
                  </a:lnTo>
                  <a:lnTo>
                    <a:pt x="61" y="96"/>
                  </a:lnTo>
                  <a:lnTo>
                    <a:pt x="57" y="92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29" y="92"/>
                  </a:lnTo>
                  <a:lnTo>
                    <a:pt x="15" y="92"/>
                  </a:lnTo>
                  <a:lnTo>
                    <a:pt x="10" y="87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8" name="Freeform 128">
              <a:extLst>
                <a:ext uri="{FF2B5EF4-FFF2-40B4-BE49-F238E27FC236}">
                  <a16:creationId xmlns:a16="http://schemas.microsoft.com/office/drawing/2014/main" id="{5D2D9B21-A4B5-ED3A-AF1C-4E2CAFEC3DA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0910" y="2585636"/>
              <a:ext cx="1477782" cy="1546005"/>
            </a:xfrm>
            <a:custGeom>
              <a:avLst/>
              <a:gdLst>
                <a:gd name="T0" fmla="*/ 1787857 w 149"/>
                <a:gd name="T1" fmla="*/ 11402107 h 160"/>
                <a:gd name="T2" fmla="*/ 0 w 149"/>
                <a:gd name="T3" fmla="*/ 15373855 h 160"/>
                <a:gd name="T4" fmla="*/ 1787857 w 149"/>
                <a:gd name="T5" fmla="*/ 17110416 h 160"/>
                <a:gd name="T6" fmla="*/ 1787857 w 149"/>
                <a:gd name="T7" fmla="*/ 20352714 h 160"/>
                <a:gd name="T8" fmla="*/ 3514252 w 149"/>
                <a:gd name="T9" fmla="*/ 21797114 h 160"/>
                <a:gd name="T10" fmla="*/ 2149801 w 149"/>
                <a:gd name="T11" fmla="*/ 24250993 h 160"/>
                <a:gd name="T12" fmla="*/ 3514252 w 149"/>
                <a:gd name="T13" fmla="*/ 27505403 h 160"/>
                <a:gd name="T14" fmla="*/ 2149801 w 149"/>
                <a:gd name="T15" fmla="*/ 29226974 h 160"/>
                <a:gd name="T16" fmla="*/ 3514252 w 149"/>
                <a:gd name="T17" fmla="*/ 34279900 h 160"/>
                <a:gd name="T18" fmla="*/ 4225697 w 149"/>
                <a:gd name="T19" fmla="*/ 36382555 h 160"/>
                <a:gd name="T20" fmla="*/ 11692541 w 149"/>
                <a:gd name="T21" fmla="*/ 32833082 h 160"/>
                <a:gd name="T22" fmla="*/ 14844852 w 149"/>
                <a:gd name="T23" fmla="*/ 34645994 h 160"/>
                <a:gd name="T24" fmla="*/ 18432372 w 149"/>
                <a:gd name="T25" fmla="*/ 36016303 h 160"/>
                <a:gd name="T26" fmla="*/ 24825705 w 149"/>
                <a:gd name="T27" fmla="*/ 37826327 h 160"/>
                <a:gd name="T28" fmla="*/ 29777807 w 149"/>
                <a:gd name="T29" fmla="*/ 41069367 h 160"/>
                <a:gd name="T30" fmla="*/ 36518240 w 149"/>
                <a:gd name="T31" fmla="*/ 44967047 h 160"/>
                <a:gd name="T32" fmla="*/ 38247039 w 149"/>
                <a:gd name="T33" fmla="*/ 46777527 h 160"/>
                <a:gd name="T34" fmla="*/ 34733406 w 149"/>
                <a:gd name="T35" fmla="*/ 48135871 h 160"/>
                <a:gd name="T36" fmla="*/ 32930711 w 149"/>
                <a:gd name="T37" fmla="*/ 51390281 h 160"/>
                <a:gd name="T38" fmla="*/ 34733406 w 149"/>
                <a:gd name="T39" fmla="*/ 54922293 h 160"/>
                <a:gd name="T40" fmla="*/ 41108903 w 149"/>
                <a:gd name="T41" fmla="*/ 54922293 h 160"/>
                <a:gd name="T42" fmla="*/ 42911588 w 149"/>
                <a:gd name="T43" fmla="*/ 44967047 h 160"/>
                <a:gd name="T44" fmla="*/ 44622624 w 149"/>
                <a:gd name="T45" fmla="*/ 27505403 h 160"/>
                <a:gd name="T46" fmla="*/ 46425340 w 149"/>
                <a:gd name="T47" fmla="*/ 24980453 h 160"/>
                <a:gd name="T48" fmla="*/ 51015962 w 149"/>
                <a:gd name="T49" fmla="*/ 21797114 h 160"/>
                <a:gd name="T50" fmla="*/ 51015962 w 149"/>
                <a:gd name="T51" fmla="*/ 18557688 h 160"/>
                <a:gd name="T52" fmla="*/ 49651409 w 149"/>
                <a:gd name="T53" fmla="*/ 13563959 h 160"/>
                <a:gd name="T54" fmla="*/ 51015962 w 149"/>
                <a:gd name="T55" fmla="*/ 6789469 h 160"/>
                <a:gd name="T56" fmla="*/ 45713880 w 149"/>
                <a:gd name="T57" fmla="*/ 3183226 h 160"/>
                <a:gd name="T58" fmla="*/ 42546611 w 149"/>
                <a:gd name="T59" fmla="*/ 0 h 160"/>
                <a:gd name="T60" fmla="*/ 37594657 w 149"/>
                <a:gd name="T61" fmla="*/ 3183226 h 160"/>
                <a:gd name="T62" fmla="*/ 34368469 w 149"/>
                <a:gd name="T63" fmla="*/ 4978855 h 160"/>
                <a:gd name="T64" fmla="*/ 32930711 w 149"/>
                <a:gd name="T65" fmla="*/ 1080570 h 160"/>
                <a:gd name="T66" fmla="*/ 27978016 w 149"/>
                <a:gd name="T67" fmla="*/ 4264404 h 160"/>
                <a:gd name="T68" fmla="*/ 16647538 w 149"/>
                <a:gd name="T69" fmla="*/ 7870039 h 160"/>
                <a:gd name="T70" fmla="*/ 11692541 w 149"/>
                <a:gd name="T71" fmla="*/ 11035983 h 160"/>
                <a:gd name="T72" fmla="*/ 8540232 w 149"/>
                <a:gd name="T73" fmla="*/ 13563959 h 160"/>
                <a:gd name="T74" fmla="*/ 4952099 w 149"/>
                <a:gd name="T75" fmla="*/ 9606476 h 16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9"/>
                <a:gd name="T115" fmla="*/ 0 h 160"/>
                <a:gd name="T116" fmla="*/ 149 w 149"/>
                <a:gd name="T117" fmla="*/ 160 h 16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9" h="160">
                  <a:moveTo>
                    <a:pt x="14" y="27"/>
                  </a:moveTo>
                  <a:lnTo>
                    <a:pt x="5" y="32"/>
                  </a:lnTo>
                  <a:lnTo>
                    <a:pt x="5" y="38"/>
                  </a:lnTo>
                  <a:lnTo>
                    <a:pt x="0" y="43"/>
                  </a:lnTo>
                  <a:lnTo>
                    <a:pt x="9" y="47"/>
                  </a:lnTo>
                  <a:lnTo>
                    <a:pt x="5" y="48"/>
                  </a:lnTo>
                  <a:lnTo>
                    <a:pt x="5" y="52"/>
                  </a:lnTo>
                  <a:lnTo>
                    <a:pt x="5" y="57"/>
                  </a:lnTo>
                  <a:lnTo>
                    <a:pt x="5" y="61"/>
                  </a:lnTo>
                  <a:lnTo>
                    <a:pt x="10" y="61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10" y="77"/>
                  </a:lnTo>
                  <a:lnTo>
                    <a:pt x="6" y="77"/>
                  </a:lnTo>
                  <a:lnTo>
                    <a:pt x="6" y="82"/>
                  </a:lnTo>
                  <a:lnTo>
                    <a:pt x="10" y="92"/>
                  </a:lnTo>
                  <a:lnTo>
                    <a:pt x="10" y="96"/>
                  </a:lnTo>
                  <a:lnTo>
                    <a:pt x="10" y="101"/>
                  </a:lnTo>
                  <a:lnTo>
                    <a:pt x="12" y="102"/>
                  </a:lnTo>
                  <a:lnTo>
                    <a:pt x="14" y="101"/>
                  </a:lnTo>
                  <a:lnTo>
                    <a:pt x="33" y="92"/>
                  </a:lnTo>
                  <a:lnTo>
                    <a:pt x="42" y="92"/>
                  </a:lnTo>
                  <a:lnTo>
                    <a:pt x="42" y="97"/>
                  </a:lnTo>
                  <a:lnTo>
                    <a:pt x="47" y="101"/>
                  </a:lnTo>
                  <a:lnTo>
                    <a:pt x="52" y="101"/>
                  </a:lnTo>
                  <a:lnTo>
                    <a:pt x="52" y="97"/>
                  </a:lnTo>
                  <a:lnTo>
                    <a:pt x="70" y="106"/>
                  </a:lnTo>
                  <a:lnTo>
                    <a:pt x="79" y="105"/>
                  </a:lnTo>
                  <a:lnTo>
                    <a:pt x="84" y="115"/>
                  </a:lnTo>
                  <a:lnTo>
                    <a:pt x="98" y="121"/>
                  </a:lnTo>
                  <a:lnTo>
                    <a:pt x="103" y="126"/>
                  </a:lnTo>
                  <a:lnTo>
                    <a:pt x="108" y="126"/>
                  </a:lnTo>
                  <a:lnTo>
                    <a:pt x="108" y="131"/>
                  </a:lnTo>
                  <a:lnTo>
                    <a:pt x="103" y="131"/>
                  </a:lnTo>
                  <a:lnTo>
                    <a:pt x="98" y="135"/>
                  </a:lnTo>
                  <a:lnTo>
                    <a:pt x="93" y="140"/>
                  </a:lnTo>
                  <a:lnTo>
                    <a:pt x="93" y="144"/>
                  </a:lnTo>
                  <a:lnTo>
                    <a:pt x="98" y="149"/>
                  </a:lnTo>
                  <a:lnTo>
                    <a:pt x="98" y="154"/>
                  </a:lnTo>
                  <a:lnTo>
                    <a:pt x="108" y="160"/>
                  </a:lnTo>
                  <a:lnTo>
                    <a:pt x="116" y="154"/>
                  </a:lnTo>
                  <a:lnTo>
                    <a:pt x="116" y="144"/>
                  </a:lnTo>
                  <a:lnTo>
                    <a:pt x="121" y="126"/>
                  </a:lnTo>
                  <a:cubicBezTo>
                    <a:pt x="121" y="112"/>
                    <a:pt x="121" y="96"/>
                    <a:pt x="121" y="82"/>
                  </a:cubicBezTo>
                  <a:lnTo>
                    <a:pt x="126" y="77"/>
                  </a:lnTo>
                  <a:lnTo>
                    <a:pt x="126" y="70"/>
                  </a:lnTo>
                  <a:lnTo>
                    <a:pt x="131" y="70"/>
                  </a:lnTo>
                  <a:lnTo>
                    <a:pt x="135" y="70"/>
                  </a:lnTo>
                  <a:lnTo>
                    <a:pt x="144" y="61"/>
                  </a:lnTo>
                  <a:lnTo>
                    <a:pt x="149" y="52"/>
                  </a:lnTo>
                  <a:lnTo>
                    <a:pt x="144" y="52"/>
                  </a:lnTo>
                  <a:lnTo>
                    <a:pt x="144" y="47"/>
                  </a:lnTo>
                  <a:lnTo>
                    <a:pt x="140" y="38"/>
                  </a:lnTo>
                  <a:lnTo>
                    <a:pt x="144" y="38"/>
                  </a:lnTo>
                  <a:cubicBezTo>
                    <a:pt x="144" y="32"/>
                    <a:pt x="144" y="25"/>
                    <a:pt x="144" y="19"/>
                  </a:cubicBezTo>
                  <a:lnTo>
                    <a:pt x="134" y="9"/>
                  </a:lnTo>
                  <a:lnTo>
                    <a:pt x="129" y="9"/>
                  </a:lnTo>
                  <a:lnTo>
                    <a:pt x="125" y="5"/>
                  </a:lnTo>
                  <a:lnTo>
                    <a:pt x="120" y="0"/>
                  </a:lnTo>
                  <a:lnTo>
                    <a:pt x="111" y="9"/>
                  </a:lnTo>
                  <a:lnTo>
                    <a:pt x="106" y="9"/>
                  </a:lnTo>
                  <a:lnTo>
                    <a:pt x="101" y="13"/>
                  </a:lnTo>
                  <a:lnTo>
                    <a:pt x="97" y="14"/>
                  </a:lnTo>
                  <a:lnTo>
                    <a:pt x="92" y="9"/>
                  </a:lnTo>
                  <a:lnTo>
                    <a:pt x="93" y="3"/>
                  </a:lnTo>
                  <a:lnTo>
                    <a:pt x="89" y="3"/>
                  </a:lnTo>
                  <a:lnTo>
                    <a:pt x="79" y="12"/>
                  </a:lnTo>
                  <a:cubicBezTo>
                    <a:pt x="69" y="12"/>
                    <a:pt x="57" y="12"/>
                    <a:pt x="47" y="12"/>
                  </a:cubicBezTo>
                  <a:lnTo>
                    <a:pt x="47" y="22"/>
                  </a:lnTo>
                  <a:lnTo>
                    <a:pt x="42" y="31"/>
                  </a:lnTo>
                  <a:lnTo>
                    <a:pt x="33" y="31"/>
                  </a:lnTo>
                  <a:lnTo>
                    <a:pt x="33" y="38"/>
                  </a:lnTo>
                  <a:lnTo>
                    <a:pt x="24" y="38"/>
                  </a:lnTo>
                  <a:lnTo>
                    <a:pt x="20" y="27"/>
                  </a:lnTo>
                  <a:lnTo>
                    <a:pt x="14" y="27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9" name="Freeform 129">
              <a:extLst>
                <a:ext uri="{FF2B5EF4-FFF2-40B4-BE49-F238E27FC236}">
                  <a16:creationId xmlns:a16="http://schemas.microsoft.com/office/drawing/2014/main" id="{9C8ED224-5DD3-FE25-DDBA-CB05FE899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7247" y="1651387"/>
              <a:ext cx="927629" cy="1309511"/>
            </a:xfrm>
            <a:custGeom>
              <a:avLst/>
              <a:gdLst>
                <a:gd name="T0" fmla="*/ 1863594 w 93"/>
                <a:gd name="T1" fmla="*/ 43032130 h 136"/>
                <a:gd name="T2" fmla="*/ 4102451 w 93"/>
                <a:gd name="T3" fmla="*/ 43032130 h 136"/>
                <a:gd name="T4" fmla="*/ 5606083 w 93"/>
                <a:gd name="T5" fmla="*/ 46833275 h 136"/>
                <a:gd name="T6" fmla="*/ 8882715 w 93"/>
                <a:gd name="T7" fmla="*/ 47190148 h 136"/>
                <a:gd name="T8" fmla="*/ 8882715 w 93"/>
                <a:gd name="T9" fmla="*/ 44445277 h 136"/>
                <a:gd name="T10" fmla="*/ 12249936 w 93"/>
                <a:gd name="T11" fmla="*/ 44445277 h 136"/>
                <a:gd name="T12" fmla="*/ 14114130 w 93"/>
                <a:gd name="T13" fmla="*/ 41273312 h 136"/>
                <a:gd name="T14" fmla="*/ 14114130 w 93"/>
                <a:gd name="T15" fmla="*/ 37826242 h 136"/>
                <a:gd name="T16" fmla="*/ 25985981 w 93"/>
                <a:gd name="T17" fmla="*/ 37826242 h 136"/>
                <a:gd name="T18" fmla="*/ 29262484 w 93"/>
                <a:gd name="T19" fmla="*/ 35068937 h 136"/>
                <a:gd name="T20" fmla="*/ 30766140 w 93"/>
                <a:gd name="T21" fmla="*/ 33310720 h 136"/>
                <a:gd name="T22" fmla="*/ 32629837 w 93"/>
                <a:gd name="T23" fmla="*/ 33310720 h 136"/>
                <a:gd name="T24" fmla="*/ 34118291 w 93"/>
                <a:gd name="T25" fmla="*/ 29506107 h 136"/>
                <a:gd name="T26" fmla="*/ 34493415 w 93"/>
                <a:gd name="T27" fmla="*/ 25002310 h 136"/>
                <a:gd name="T28" fmla="*/ 32629837 w 93"/>
                <a:gd name="T29" fmla="*/ 21485757 h 136"/>
                <a:gd name="T30" fmla="*/ 31141403 w 93"/>
                <a:gd name="T31" fmla="*/ 16340480 h 136"/>
                <a:gd name="T32" fmla="*/ 31141403 w 93"/>
                <a:gd name="T33" fmla="*/ 9721437 h 136"/>
                <a:gd name="T34" fmla="*/ 29262484 w 93"/>
                <a:gd name="T35" fmla="*/ 4161621 h 136"/>
                <a:gd name="T36" fmla="*/ 30766140 w 93"/>
                <a:gd name="T37" fmla="*/ 2744877 h 136"/>
                <a:gd name="T38" fmla="*/ 29262484 w 93"/>
                <a:gd name="T39" fmla="*/ 2744877 h 136"/>
                <a:gd name="T40" fmla="*/ 27474436 w 93"/>
                <a:gd name="T41" fmla="*/ 0 h 136"/>
                <a:gd name="T42" fmla="*/ 25610698 w 93"/>
                <a:gd name="T43" fmla="*/ 2402669 h 136"/>
                <a:gd name="T44" fmla="*/ 24122284 w 93"/>
                <a:gd name="T45" fmla="*/ 4161621 h 136"/>
                <a:gd name="T46" fmla="*/ 22243484 w 93"/>
                <a:gd name="T47" fmla="*/ 4161621 h 136"/>
                <a:gd name="T48" fmla="*/ 20755045 w 93"/>
                <a:gd name="T49" fmla="*/ 6975956 h 136"/>
                <a:gd name="T50" fmla="*/ 20379911 w 93"/>
                <a:gd name="T51" fmla="*/ 14225241 h 136"/>
                <a:gd name="T52" fmla="*/ 19269552 w 93"/>
                <a:gd name="T53" fmla="*/ 15281358 h 136"/>
                <a:gd name="T54" fmla="*/ 18891328 w 93"/>
                <a:gd name="T55" fmla="*/ 19085478 h 136"/>
                <a:gd name="T56" fmla="*/ 20379911 w 93"/>
                <a:gd name="T57" fmla="*/ 19085478 h 136"/>
                <a:gd name="T58" fmla="*/ 20379911 w 93"/>
                <a:gd name="T59" fmla="*/ 22530169 h 136"/>
                <a:gd name="T60" fmla="*/ 11874782 w 93"/>
                <a:gd name="T61" fmla="*/ 22887062 h 136"/>
                <a:gd name="T62" fmla="*/ 8507456 w 93"/>
                <a:gd name="T63" fmla="*/ 25705002 h 136"/>
                <a:gd name="T64" fmla="*/ 5230944 w 93"/>
                <a:gd name="T65" fmla="*/ 27390878 h 136"/>
                <a:gd name="T66" fmla="*/ 3367354 w 93"/>
                <a:gd name="T67" fmla="*/ 31552365 h 136"/>
                <a:gd name="T68" fmla="*/ 1863594 w 93"/>
                <a:gd name="T69" fmla="*/ 34366836 h 136"/>
                <a:gd name="T70" fmla="*/ 1863594 w 93"/>
                <a:gd name="T71" fmla="*/ 37469329 h 136"/>
                <a:gd name="T72" fmla="*/ 0 w 93"/>
                <a:gd name="T73" fmla="*/ 41273312 h 136"/>
                <a:gd name="T74" fmla="*/ 1863594 w 93"/>
                <a:gd name="T75" fmla="*/ 43032130 h 1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3"/>
                <a:gd name="T115" fmla="*/ 0 h 136"/>
                <a:gd name="T116" fmla="*/ 93 w 93"/>
                <a:gd name="T117" fmla="*/ 136 h 1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3" h="136">
                  <a:moveTo>
                    <a:pt x="5" y="124"/>
                  </a:moveTo>
                  <a:lnTo>
                    <a:pt x="11" y="124"/>
                  </a:lnTo>
                  <a:lnTo>
                    <a:pt x="15" y="135"/>
                  </a:lnTo>
                  <a:lnTo>
                    <a:pt x="24" y="136"/>
                  </a:lnTo>
                  <a:lnTo>
                    <a:pt x="24" y="128"/>
                  </a:lnTo>
                  <a:lnTo>
                    <a:pt x="33" y="128"/>
                  </a:lnTo>
                  <a:lnTo>
                    <a:pt x="38" y="119"/>
                  </a:lnTo>
                  <a:lnTo>
                    <a:pt x="38" y="109"/>
                  </a:lnTo>
                  <a:lnTo>
                    <a:pt x="70" y="109"/>
                  </a:lnTo>
                  <a:lnTo>
                    <a:pt x="79" y="101"/>
                  </a:lnTo>
                  <a:lnTo>
                    <a:pt x="83" y="96"/>
                  </a:lnTo>
                  <a:lnTo>
                    <a:pt x="88" y="96"/>
                  </a:lnTo>
                  <a:lnTo>
                    <a:pt x="92" y="85"/>
                  </a:lnTo>
                  <a:lnTo>
                    <a:pt x="93" y="72"/>
                  </a:lnTo>
                  <a:lnTo>
                    <a:pt x="88" y="62"/>
                  </a:lnTo>
                  <a:lnTo>
                    <a:pt x="84" y="47"/>
                  </a:lnTo>
                  <a:lnTo>
                    <a:pt x="84" y="28"/>
                  </a:lnTo>
                  <a:lnTo>
                    <a:pt x="79" y="12"/>
                  </a:lnTo>
                  <a:lnTo>
                    <a:pt x="83" y="8"/>
                  </a:lnTo>
                  <a:lnTo>
                    <a:pt x="79" y="8"/>
                  </a:lnTo>
                  <a:lnTo>
                    <a:pt x="74" y="0"/>
                  </a:lnTo>
                  <a:lnTo>
                    <a:pt x="69" y="7"/>
                  </a:lnTo>
                  <a:lnTo>
                    <a:pt x="65" y="12"/>
                  </a:lnTo>
                  <a:lnTo>
                    <a:pt x="60" y="12"/>
                  </a:lnTo>
                  <a:lnTo>
                    <a:pt x="56" y="20"/>
                  </a:lnTo>
                  <a:lnTo>
                    <a:pt x="55" y="41"/>
                  </a:lnTo>
                  <a:lnTo>
                    <a:pt x="52" y="44"/>
                  </a:lnTo>
                  <a:lnTo>
                    <a:pt x="51" y="55"/>
                  </a:lnTo>
                  <a:lnTo>
                    <a:pt x="55" y="55"/>
                  </a:lnTo>
                  <a:lnTo>
                    <a:pt x="55" y="65"/>
                  </a:lnTo>
                  <a:lnTo>
                    <a:pt x="32" y="66"/>
                  </a:lnTo>
                  <a:lnTo>
                    <a:pt x="23" y="74"/>
                  </a:lnTo>
                  <a:lnTo>
                    <a:pt x="14" y="79"/>
                  </a:lnTo>
                  <a:lnTo>
                    <a:pt x="9" y="91"/>
                  </a:lnTo>
                  <a:lnTo>
                    <a:pt x="5" y="99"/>
                  </a:lnTo>
                  <a:lnTo>
                    <a:pt x="5" y="108"/>
                  </a:lnTo>
                  <a:lnTo>
                    <a:pt x="0" y="119"/>
                  </a:lnTo>
                  <a:lnTo>
                    <a:pt x="5" y="124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0" name="Freeform 130">
              <a:extLst>
                <a:ext uri="{FF2B5EF4-FFF2-40B4-BE49-F238E27FC236}">
                  <a16:creationId xmlns:a16="http://schemas.microsoft.com/office/drawing/2014/main" id="{F5725830-EB99-05CA-2166-9C117C427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597" y="2413641"/>
              <a:ext cx="1202705" cy="635211"/>
            </a:xfrm>
            <a:custGeom>
              <a:avLst/>
              <a:gdLst>
                <a:gd name="T0" fmla="*/ 43638812 w 121"/>
                <a:gd name="T1" fmla="*/ 13830905 h 66"/>
                <a:gd name="T2" fmla="*/ 21635073 w 121"/>
                <a:gd name="T3" fmla="*/ 5903797 h 66"/>
                <a:gd name="T4" fmla="*/ 1457016 w 121"/>
                <a:gd name="T5" fmla="*/ 0 h 66"/>
                <a:gd name="T6" fmla="*/ 1825718 w 121"/>
                <a:gd name="T7" fmla="*/ 2110825 h 66"/>
                <a:gd name="T8" fmla="*/ 0 w 121"/>
                <a:gd name="T9" fmla="*/ 4490298 h 66"/>
                <a:gd name="T10" fmla="*/ 6490379 w 121"/>
                <a:gd name="T11" fmla="*/ 10735823 h 66"/>
                <a:gd name="T12" fmla="*/ 6490379 w 121"/>
                <a:gd name="T13" fmla="*/ 14187204 h 66"/>
                <a:gd name="T14" fmla="*/ 10126273 w 121"/>
                <a:gd name="T15" fmla="*/ 14187204 h 66"/>
                <a:gd name="T16" fmla="*/ 13334524 w 121"/>
                <a:gd name="T17" fmla="*/ 17264706 h 66"/>
                <a:gd name="T18" fmla="*/ 16616647 w 121"/>
                <a:gd name="T19" fmla="*/ 17264706 h 66"/>
                <a:gd name="T20" fmla="*/ 20178062 w 121"/>
                <a:gd name="T21" fmla="*/ 14187204 h 66"/>
                <a:gd name="T22" fmla="*/ 21635073 w 121"/>
                <a:gd name="T23" fmla="*/ 14187204 h 66"/>
                <a:gd name="T24" fmla="*/ 21635073 w 121"/>
                <a:gd name="T25" fmla="*/ 22812202 h 66"/>
                <a:gd name="T26" fmla="*/ 31761358 w 121"/>
                <a:gd name="T27" fmla="*/ 22812202 h 66"/>
                <a:gd name="T28" fmla="*/ 34969601 w 121"/>
                <a:gd name="T29" fmla="*/ 21413974 h 66"/>
                <a:gd name="T30" fmla="*/ 36794699 w 121"/>
                <a:gd name="T31" fmla="*/ 19731839 h 66"/>
                <a:gd name="T32" fmla="*/ 38620431 w 121"/>
                <a:gd name="T33" fmla="*/ 19731839 h 66"/>
                <a:gd name="T34" fmla="*/ 43638812 w 121"/>
                <a:gd name="T35" fmla="*/ 13830905 h 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1"/>
                <a:gd name="T55" fmla="*/ 0 h 66"/>
                <a:gd name="T56" fmla="*/ 121 w 121"/>
                <a:gd name="T57" fmla="*/ 66 h 6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1" h="66">
                  <a:moveTo>
                    <a:pt x="121" y="40"/>
                  </a:moveTo>
                  <a:lnTo>
                    <a:pt x="60" y="17"/>
                  </a:lnTo>
                  <a:lnTo>
                    <a:pt x="4" y="0"/>
                  </a:lnTo>
                  <a:lnTo>
                    <a:pt x="5" y="6"/>
                  </a:lnTo>
                  <a:lnTo>
                    <a:pt x="0" y="13"/>
                  </a:lnTo>
                  <a:cubicBezTo>
                    <a:pt x="6" y="19"/>
                    <a:pt x="13" y="25"/>
                    <a:pt x="18" y="31"/>
                  </a:cubicBezTo>
                  <a:lnTo>
                    <a:pt x="18" y="41"/>
                  </a:lnTo>
                  <a:lnTo>
                    <a:pt x="28" y="41"/>
                  </a:lnTo>
                  <a:lnTo>
                    <a:pt x="37" y="50"/>
                  </a:lnTo>
                  <a:lnTo>
                    <a:pt x="46" y="50"/>
                  </a:lnTo>
                  <a:lnTo>
                    <a:pt x="56" y="41"/>
                  </a:lnTo>
                  <a:lnTo>
                    <a:pt x="60" y="41"/>
                  </a:lnTo>
                  <a:lnTo>
                    <a:pt x="60" y="66"/>
                  </a:lnTo>
                  <a:cubicBezTo>
                    <a:pt x="70" y="66"/>
                    <a:pt x="79" y="66"/>
                    <a:pt x="88" y="66"/>
                  </a:cubicBezTo>
                  <a:lnTo>
                    <a:pt x="97" y="62"/>
                  </a:lnTo>
                  <a:lnTo>
                    <a:pt x="102" y="57"/>
                  </a:lnTo>
                  <a:lnTo>
                    <a:pt x="107" y="57"/>
                  </a:lnTo>
                  <a:lnTo>
                    <a:pt x="121" y="40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1" name="Freeform 131">
              <a:extLst>
                <a:ext uri="{FF2B5EF4-FFF2-40B4-BE49-F238E27FC236}">
                  <a16:creationId xmlns:a16="http://schemas.microsoft.com/office/drawing/2014/main" id="{E3682BF9-492C-E5FE-2F72-865B9B0D5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5228" y="384875"/>
              <a:ext cx="1019990" cy="1051518"/>
            </a:xfrm>
            <a:custGeom>
              <a:avLst/>
              <a:gdLst>
                <a:gd name="T0" fmla="*/ 24496571 w 103"/>
                <a:gd name="T1" fmla="*/ 0 h 109"/>
                <a:gd name="T2" fmla="*/ 27677045 w 103"/>
                <a:gd name="T3" fmla="*/ 0 h 109"/>
                <a:gd name="T4" fmla="*/ 29390593 w 103"/>
                <a:gd name="T5" fmla="*/ 1778179 h 109"/>
                <a:gd name="T6" fmla="*/ 27677045 w 103"/>
                <a:gd name="T7" fmla="*/ 3497568 h 109"/>
                <a:gd name="T8" fmla="*/ 29390593 w 103"/>
                <a:gd name="T9" fmla="*/ 5999150 h 109"/>
                <a:gd name="T10" fmla="*/ 31161628 w 103"/>
                <a:gd name="T11" fmla="*/ 7416962 h 109"/>
                <a:gd name="T12" fmla="*/ 31161628 w 103"/>
                <a:gd name="T13" fmla="*/ 8776700 h 109"/>
                <a:gd name="T14" fmla="*/ 29390593 w 103"/>
                <a:gd name="T15" fmla="*/ 10554871 h 109"/>
                <a:gd name="T16" fmla="*/ 29390593 w 103"/>
                <a:gd name="T17" fmla="*/ 17263226 h 109"/>
                <a:gd name="T18" fmla="*/ 31161628 w 103"/>
                <a:gd name="T19" fmla="*/ 19694225 h 109"/>
                <a:gd name="T20" fmla="*/ 34284614 w 103"/>
                <a:gd name="T21" fmla="*/ 22902121 h 109"/>
                <a:gd name="T22" fmla="*/ 36055630 w 103"/>
                <a:gd name="T23" fmla="*/ 22902121 h 109"/>
                <a:gd name="T24" fmla="*/ 36055630 w 103"/>
                <a:gd name="T25" fmla="*/ 27832272 h 109"/>
                <a:gd name="T26" fmla="*/ 31161628 w 103"/>
                <a:gd name="T27" fmla="*/ 27832272 h 109"/>
                <a:gd name="T28" fmla="*/ 29390593 w 103"/>
                <a:gd name="T29" fmla="*/ 29264418 h 109"/>
                <a:gd name="T30" fmla="*/ 29390593 w 103"/>
                <a:gd name="T31" fmla="*/ 30969611 h 109"/>
                <a:gd name="T32" fmla="*/ 27677045 w 103"/>
                <a:gd name="T33" fmla="*/ 30969611 h 109"/>
                <a:gd name="T34" fmla="*/ 24496571 w 103"/>
                <a:gd name="T35" fmla="*/ 35249365 h 109"/>
                <a:gd name="T36" fmla="*/ 22783024 w 103"/>
                <a:gd name="T37" fmla="*/ 32762562 h 109"/>
                <a:gd name="T38" fmla="*/ 19590797 w 103"/>
                <a:gd name="T39" fmla="*/ 35249365 h 109"/>
                <a:gd name="T40" fmla="*/ 19590797 w 103"/>
                <a:gd name="T41" fmla="*/ 38386566 h 109"/>
                <a:gd name="T42" fmla="*/ 17892016 w 103"/>
                <a:gd name="T43" fmla="*/ 38386566 h 109"/>
                <a:gd name="T44" fmla="*/ 13631683 w 103"/>
                <a:gd name="T45" fmla="*/ 35612619 h 109"/>
                <a:gd name="T46" fmla="*/ 14696806 w 103"/>
                <a:gd name="T47" fmla="*/ 35249365 h 109"/>
                <a:gd name="T48" fmla="*/ 14696806 w 103"/>
                <a:gd name="T49" fmla="*/ 30969611 h 109"/>
                <a:gd name="T50" fmla="*/ 11571403 w 103"/>
                <a:gd name="T51" fmla="*/ 19694225 h 109"/>
                <a:gd name="T52" fmla="*/ 8375588 w 103"/>
                <a:gd name="T53" fmla="*/ 17263226 h 109"/>
                <a:gd name="T54" fmla="*/ 5253204 w 103"/>
                <a:gd name="T55" fmla="*/ 17263226 h 109"/>
                <a:gd name="T56" fmla="*/ 5253204 w 103"/>
                <a:gd name="T57" fmla="*/ 15485042 h 109"/>
                <a:gd name="T58" fmla="*/ 3484584 w 103"/>
                <a:gd name="T59" fmla="*/ 14055315 h 109"/>
                <a:gd name="T60" fmla="*/ 3484584 w 103"/>
                <a:gd name="T61" fmla="*/ 10554871 h 109"/>
                <a:gd name="T62" fmla="*/ 0 w 103"/>
                <a:gd name="T63" fmla="*/ 8776700 h 109"/>
                <a:gd name="T64" fmla="*/ 0 w 103"/>
                <a:gd name="T65" fmla="*/ 7416962 h 109"/>
                <a:gd name="T66" fmla="*/ 3484584 w 103"/>
                <a:gd name="T67" fmla="*/ 7416962 h 109"/>
                <a:gd name="T68" fmla="*/ 5253204 w 103"/>
                <a:gd name="T69" fmla="*/ 8776700 h 109"/>
                <a:gd name="T70" fmla="*/ 8375588 w 103"/>
                <a:gd name="T71" fmla="*/ 8776700 h 109"/>
                <a:gd name="T72" fmla="*/ 11571403 w 103"/>
                <a:gd name="T73" fmla="*/ 10554871 h 109"/>
                <a:gd name="T74" fmla="*/ 11571403 w 103"/>
                <a:gd name="T75" fmla="*/ 8776700 h 109"/>
                <a:gd name="T76" fmla="*/ 14696806 w 103"/>
                <a:gd name="T77" fmla="*/ 7416962 h 109"/>
                <a:gd name="T78" fmla="*/ 17892016 w 103"/>
                <a:gd name="T79" fmla="*/ 7416962 h 109"/>
                <a:gd name="T80" fmla="*/ 19590797 w 103"/>
                <a:gd name="T81" fmla="*/ 5999150 h 109"/>
                <a:gd name="T82" fmla="*/ 22783024 w 103"/>
                <a:gd name="T83" fmla="*/ 5999150 h 109"/>
                <a:gd name="T84" fmla="*/ 26267607 w 103"/>
                <a:gd name="T85" fmla="*/ 1778179 h 109"/>
                <a:gd name="T86" fmla="*/ 24496571 w 103"/>
                <a:gd name="T87" fmla="*/ 0 h 10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3"/>
                <a:gd name="T133" fmla="*/ 0 h 109"/>
                <a:gd name="T134" fmla="*/ 103 w 103"/>
                <a:gd name="T135" fmla="*/ 109 h 10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3" h="109">
                  <a:moveTo>
                    <a:pt x="70" y="0"/>
                  </a:moveTo>
                  <a:lnTo>
                    <a:pt x="79" y="0"/>
                  </a:lnTo>
                  <a:lnTo>
                    <a:pt x="84" y="5"/>
                  </a:lnTo>
                  <a:lnTo>
                    <a:pt x="79" y="10"/>
                  </a:lnTo>
                  <a:lnTo>
                    <a:pt x="84" y="17"/>
                  </a:lnTo>
                  <a:lnTo>
                    <a:pt x="89" y="21"/>
                  </a:lnTo>
                  <a:lnTo>
                    <a:pt x="89" y="25"/>
                  </a:lnTo>
                  <a:lnTo>
                    <a:pt x="84" y="30"/>
                  </a:lnTo>
                  <a:cubicBezTo>
                    <a:pt x="84" y="36"/>
                    <a:pt x="84" y="43"/>
                    <a:pt x="84" y="49"/>
                  </a:cubicBezTo>
                  <a:lnTo>
                    <a:pt x="89" y="56"/>
                  </a:lnTo>
                  <a:lnTo>
                    <a:pt x="98" y="65"/>
                  </a:lnTo>
                  <a:lnTo>
                    <a:pt x="103" y="65"/>
                  </a:lnTo>
                  <a:lnTo>
                    <a:pt x="103" y="79"/>
                  </a:lnTo>
                  <a:lnTo>
                    <a:pt x="89" y="79"/>
                  </a:lnTo>
                  <a:lnTo>
                    <a:pt x="84" y="83"/>
                  </a:lnTo>
                  <a:lnTo>
                    <a:pt x="84" y="88"/>
                  </a:lnTo>
                  <a:lnTo>
                    <a:pt x="79" y="88"/>
                  </a:lnTo>
                  <a:lnTo>
                    <a:pt x="70" y="100"/>
                  </a:lnTo>
                  <a:lnTo>
                    <a:pt x="65" y="93"/>
                  </a:lnTo>
                  <a:lnTo>
                    <a:pt x="56" y="100"/>
                  </a:lnTo>
                  <a:lnTo>
                    <a:pt x="56" y="109"/>
                  </a:lnTo>
                  <a:lnTo>
                    <a:pt x="51" y="109"/>
                  </a:lnTo>
                  <a:lnTo>
                    <a:pt x="39" y="101"/>
                  </a:lnTo>
                  <a:lnTo>
                    <a:pt x="42" y="100"/>
                  </a:lnTo>
                  <a:lnTo>
                    <a:pt x="42" y="88"/>
                  </a:lnTo>
                  <a:lnTo>
                    <a:pt x="33" y="56"/>
                  </a:lnTo>
                  <a:lnTo>
                    <a:pt x="24" y="49"/>
                  </a:lnTo>
                  <a:lnTo>
                    <a:pt x="15" y="49"/>
                  </a:lnTo>
                  <a:lnTo>
                    <a:pt x="15" y="44"/>
                  </a:lnTo>
                  <a:lnTo>
                    <a:pt x="10" y="40"/>
                  </a:lnTo>
                  <a:lnTo>
                    <a:pt x="10" y="30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0" y="21"/>
                  </a:lnTo>
                  <a:lnTo>
                    <a:pt x="15" y="25"/>
                  </a:lnTo>
                  <a:lnTo>
                    <a:pt x="24" y="25"/>
                  </a:lnTo>
                  <a:lnTo>
                    <a:pt x="33" y="30"/>
                  </a:lnTo>
                  <a:lnTo>
                    <a:pt x="33" y="25"/>
                  </a:lnTo>
                  <a:lnTo>
                    <a:pt x="42" y="21"/>
                  </a:lnTo>
                  <a:lnTo>
                    <a:pt x="51" y="21"/>
                  </a:lnTo>
                  <a:lnTo>
                    <a:pt x="56" y="17"/>
                  </a:lnTo>
                  <a:lnTo>
                    <a:pt x="65" y="17"/>
                  </a:lnTo>
                  <a:lnTo>
                    <a:pt x="75" y="5"/>
                  </a:lnTo>
                  <a:lnTo>
                    <a:pt x="70" y="0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2" name="Freeform 132">
              <a:extLst>
                <a:ext uri="{FF2B5EF4-FFF2-40B4-BE49-F238E27FC236}">
                  <a16:creationId xmlns:a16="http://schemas.microsoft.com/office/drawing/2014/main" id="{B4781F81-687E-10AA-6C5E-D031DC694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219" y="810954"/>
              <a:ext cx="2066083" cy="1938857"/>
            </a:xfrm>
            <a:custGeom>
              <a:avLst/>
              <a:gdLst>
                <a:gd name="T0" fmla="*/ 0 w 208"/>
                <a:gd name="T1" fmla="*/ 7065454 h 201"/>
                <a:gd name="T2" fmla="*/ 4999075 w 208"/>
                <a:gd name="T3" fmla="*/ 5636259 h 201"/>
                <a:gd name="T4" fmla="*/ 8267031 w 208"/>
                <a:gd name="T5" fmla="*/ 4204649 h 201"/>
                <a:gd name="T6" fmla="*/ 15802759 w 208"/>
                <a:gd name="T7" fmla="*/ 1431609 h 201"/>
                <a:gd name="T8" fmla="*/ 23996065 w 208"/>
                <a:gd name="T9" fmla="*/ 0 h 201"/>
                <a:gd name="T10" fmla="*/ 25815218 w 208"/>
                <a:gd name="T11" fmla="*/ 4204649 h 201"/>
                <a:gd name="T12" fmla="*/ 30535695 w 208"/>
                <a:gd name="T13" fmla="*/ 5636259 h 201"/>
                <a:gd name="T14" fmla="*/ 34082855 w 208"/>
                <a:gd name="T15" fmla="*/ 13700044 h 201"/>
                <a:gd name="T16" fmla="*/ 37350819 w 208"/>
                <a:gd name="T17" fmla="*/ 19322106 h 201"/>
                <a:gd name="T18" fmla="*/ 40533753 w 208"/>
                <a:gd name="T19" fmla="*/ 22891316 h 201"/>
                <a:gd name="T20" fmla="*/ 38729144 w 208"/>
                <a:gd name="T21" fmla="*/ 24320506 h 201"/>
                <a:gd name="T22" fmla="*/ 45547227 w 208"/>
                <a:gd name="T23" fmla="*/ 21114343 h 201"/>
                <a:gd name="T24" fmla="*/ 47348966 w 208"/>
                <a:gd name="T25" fmla="*/ 22891316 h 201"/>
                <a:gd name="T26" fmla="*/ 45547227 w 208"/>
                <a:gd name="T27" fmla="*/ 24320506 h 201"/>
                <a:gd name="T28" fmla="*/ 48800766 w 208"/>
                <a:gd name="T29" fmla="*/ 24320506 h 201"/>
                <a:gd name="T30" fmla="*/ 50617504 w 208"/>
                <a:gd name="T31" fmla="*/ 26027417 h 201"/>
                <a:gd name="T32" fmla="*/ 52362371 w 208"/>
                <a:gd name="T33" fmla="*/ 26027417 h 201"/>
                <a:gd name="T34" fmla="*/ 55615989 w 208"/>
                <a:gd name="T35" fmla="*/ 24320506 h 201"/>
                <a:gd name="T36" fmla="*/ 53814883 w 208"/>
                <a:gd name="T37" fmla="*/ 29233461 h 201"/>
                <a:gd name="T38" fmla="*/ 57435656 w 208"/>
                <a:gd name="T39" fmla="*/ 26027417 h 201"/>
                <a:gd name="T40" fmla="*/ 62434695 w 208"/>
                <a:gd name="T41" fmla="*/ 22891316 h 201"/>
                <a:gd name="T42" fmla="*/ 67080866 w 208"/>
                <a:gd name="T43" fmla="*/ 16906819 h 201"/>
                <a:gd name="T44" fmla="*/ 67812881 w 208"/>
                <a:gd name="T45" fmla="*/ 16906819 h 201"/>
                <a:gd name="T46" fmla="*/ 73179035 w 208"/>
                <a:gd name="T47" fmla="*/ 21114343 h 201"/>
                <a:gd name="T48" fmla="*/ 74630993 w 208"/>
                <a:gd name="T49" fmla="*/ 26027417 h 201"/>
                <a:gd name="T50" fmla="*/ 71362336 w 208"/>
                <a:gd name="T51" fmla="*/ 33092745 h 201"/>
                <a:gd name="T52" fmla="*/ 67080866 w 208"/>
                <a:gd name="T53" fmla="*/ 39798011 h 201"/>
                <a:gd name="T54" fmla="*/ 63533746 w 208"/>
                <a:gd name="T55" fmla="*/ 45071235 h 201"/>
                <a:gd name="T56" fmla="*/ 58813249 w 208"/>
                <a:gd name="T57" fmla="*/ 52066560 h 201"/>
                <a:gd name="T58" fmla="*/ 57435656 w 208"/>
                <a:gd name="T59" fmla="*/ 55275585 h 201"/>
                <a:gd name="T60" fmla="*/ 57435656 w 208"/>
                <a:gd name="T61" fmla="*/ 58411726 h 201"/>
                <a:gd name="T62" fmla="*/ 53814883 w 208"/>
                <a:gd name="T63" fmla="*/ 65822408 h 201"/>
                <a:gd name="T64" fmla="*/ 12181887 w 208"/>
                <a:gd name="T65" fmla="*/ 69321630 h 201"/>
                <a:gd name="T66" fmla="*/ 9719582 w 208"/>
                <a:gd name="T67" fmla="*/ 65822408 h 201"/>
                <a:gd name="T68" fmla="*/ 7899925 w 208"/>
                <a:gd name="T69" fmla="*/ 60189152 h 201"/>
                <a:gd name="T70" fmla="*/ 2903883 w 208"/>
                <a:gd name="T71" fmla="*/ 53844026 h 201"/>
                <a:gd name="T72" fmla="*/ 13633825 w 208"/>
                <a:gd name="T73" fmla="*/ 27816747 h 201"/>
                <a:gd name="T74" fmla="*/ 10086668 w 208"/>
                <a:gd name="T75" fmla="*/ 24609973 h 201"/>
                <a:gd name="T76" fmla="*/ 4999075 w 208"/>
                <a:gd name="T77" fmla="*/ 22891316 h 2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8"/>
                <a:gd name="T118" fmla="*/ 0 h 201"/>
                <a:gd name="T119" fmla="*/ 208 w 208"/>
                <a:gd name="T120" fmla="*/ 201 h 2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8" h="201">
                  <a:moveTo>
                    <a:pt x="0" y="48"/>
                  </a:moveTo>
                  <a:lnTo>
                    <a:pt x="0" y="20"/>
                  </a:lnTo>
                  <a:lnTo>
                    <a:pt x="9" y="16"/>
                  </a:lnTo>
                  <a:lnTo>
                    <a:pt x="14" y="16"/>
                  </a:lnTo>
                  <a:lnTo>
                    <a:pt x="18" y="16"/>
                  </a:lnTo>
                  <a:lnTo>
                    <a:pt x="23" y="12"/>
                  </a:lnTo>
                  <a:cubicBezTo>
                    <a:pt x="31" y="12"/>
                    <a:pt x="40" y="12"/>
                    <a:pt x="49" y="12"/>
                  </a:cubicBezTo>
                  <a:lnTo>
                    <a:pt x="44" y="4"/>
                  </a:lnTo>
                  <a:lnTo>
                    <a:pt x="44" y="0"/>
                  </a:lnTo>
                  <a:lnTo>
                    <a:pt x="67" y="0"/>
                  </a:lnTo>
                  <a:lnTo>
                    <a:pt x="67" y="11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5" y="16"/>
                  </a:lnTo>
                  <a:lnTo>
                    <a:pt x="95" y="25"/>
                  </a:lnTo>
                  <a:lnTo>
                    <a:pt x="95" y="39"/>
                  </a:lnTo>
                  <a:lnTo>
                    <a:pt x="100" y="44"/>
                  </a:lnTo>
                  <a:lnTo>
                    <a:pt x="104" y="55"/>
                  </a:lnTo>
                  <a:lnTo>
                    <a:pt x="113" y="60"/>
                  </a:lnTo>
                  <a:lnTo>
                    <a:pt x="113" y="65"/>
                  </a:lnTo>
                  <a:lnTo>
                    <a:pt x="100" y="65"/>
                  </a:lnTo>
                  <a:lnTo>
                    <a:pt x="108" y="69"/>
                  </a:lnTo>
                  <a:lnTo>
                    <a:pt x="122" y="60"/>
                  </a:lnTo>
                  <a:lnTo>
                    <a:pt x="127" y="60"/>
                  </a:lnTo>
                  <a:lnTo>
                    <a:pt x="132" y="60"/>
                  </a:lnTo>
                  <a:lnTo>
                    <a:pt x="132" y="65"/>
                  </a:lnTo>
                  <a:lnTo>
                    <a:pt x="132" y="69"/>
                  </a:lnTo>
                  <a:lnTo>
                    <a:pt x="127" y="69"/>
                  </a:lnTo>
                  <a:lnTo>
                    <a:pt x="132" y="74"/>
                  </a:lnTo>
                  <a:lnTo>
                    <a:pt x="136" y="69"/>
                  </a:lnTo>
                  <a:lnTo>
                    <a:pt x="136" y="74"/>
                  </a:lnTo>
                  <a:lnTo>
                    <a:pt x="141" y="74"/>
                  </a:lnTo>
                  <a:lnTo>
                    <a:pt x="146" y="69"/>
                  </a:lnTo>
                  <a:lnTo>
                    <a:pt x="146" y="74"/>
                  </a:lnTo>
                  <a:lnTo>
                    <a:pt x="150" y="74"/>
                  </a:lnTo>
                  <a:lnTo>
                    <a:pt x="155" y="69"/>
                  </a:lnTo>
                  <a:lnTo>
                    <a:pt x="155" y="74"/>
                  </a:lnTo>
                  <a:lnTo>
                    <a:pt x="150" y="83"/>
                  </a:lnTo>
                  <a:lnTo>
                    <a:pt x="155" y="83"/>
                  </a:lnTo>
                  <a:lnTo>
                    <a:pt x="160" y="74"/>
                  </a:lnTo>
                  <a:lnTo>
                    <a:pt x="169" y="65"/>
                  </a:lnTo>
                  <a:lnTo>
                    <a:pt x="174" y="65"/>
                  </a:lnTo>
                  <a:lnTo>
                    <a:pt x="178" y="55"/>
                  </a:lnTo>
                  <a:lnTo>
                    <a:pt x="187" y="48"/>
                  </a:lnTo>
                  <a:lnTo>
                    <a:pt x="187" y="55"/>
                  </a:lnTo>
                  <a:lnTo>
                    <a:pt x="189" y="48"/>
                  </a:lnTo>
                  <a:lnTo>
                    <a:pt x="199" y="55"/>
                  </a:lnTo>
                  <a:lnTo>
                    <a:pt x="204" y="60"/>
                  </a:lnTo>
                  <a:lnTo>
                    <a:pt x="208" y="60"/>
                  </a:lnTo>
                  <a:lnTo>
                    <a:pt x="208" y="74"/>
                  </a:lnTo>
                  <a:lnTo>
                    <a:pt x="199" y="83"/>
                  </a:lnTo>
                  <a:lnTo>
                    <a:pt x="199" y="94"/>
                  </a:lnTo>
                  <a:lnTo>
                    <a:pt x="194" y="99"/>
                  </a:lnTo>
                  <a:lnTo>
                    <a:pt x="187" y="113"/>
                  </a:lnTo>
                  <a:lnTo>
                    <a:pt x="172" y="123"/>
                  </a:lnTo>
                  <a:lnTo>
                    <a:pt x="177" y="128"/>
                  </a:lnTo>
                  <a:lnTo>
                    <a:pt x="173" y="143"/>
                  </a:lnTo>
                  <a:lnTo>
                    <a:pt x="164" y="148"/>
                  </a:lnTo>
                  <a:lnTo>
                    <a:pt x="160" y="153"/>
                  </a:lnTo>
                  <a:lnTo>
                    <a:pt x="160" y="157"/>
                  </a:lnTo>
                  <a:lnTo>
                    <a:pt x="155" y="162"/>
                  </a:lnTo>
                  <a:lnTo>
                    <a:pt x="160" y="166"/>
                  </a:lnTo>
                  <a:lnTo>
                    <a:pt x="155" y="178"/>
                  </a:lnTo>
                  <a:lnTo>
                    <a:pt x="150" y="187"/>
                  </a:lnTo>
                  <a:lnTo>
                    <a:pt x="141" y="201"/>
                  </a:lnTo>
                  <a:lnTo>
                    <a:pt x="34" y="197"/>
                  </a:lnTo>
                  <a:lnTo>
                    <a:pt x="29" y="192"/>
                  </a:lnTo>
                  <a:lnTo>
                    <a:pt x="27" y="187"/>
                  </a:lnTo>
                  <a:lnTo>
                    <a:pt x="22" y="183"/>
                  </a:lnTo>
                  <a:lnTo>
                    <a:pt x="22" y="171"/>
                  </a:lnTo>
                  <a:lnTo>
                    <a:pt x="14" y="162"/>
                  </a:lnTo>
                  <a:lnTo>
                    <a:pt x="8" y="153"/>
                  </a:lnTo>
                  <a:lnTo>
                    <a:pt x="21" y="122"/>
                  </a:lnTo>
                  <a:lnTo>
                    <a:pt x="38" y="79"/>
                  </a:lnTo>
                  <a:lnTo>
                    <a:pt x="34" y="74"/>
                  </a:lnTo>
                  <a:lnTo>
                    <a:pt x="28" y="70"/>
                  </a:lnTo>
                  <a:lnTo>
                    <a:pt x="23" y="71"/>
                  </a:lnTo>
                  <a:lnTo>
                    <a:pt x="14" y="65"/>
                  </a:lnTo>
                  <a:lnTo>
                    <a:pt x="0" y="48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3" name="Freeform 133">
              <a:extLst>
                <a:ext uri="{FF2B5EF4-FFF2-40B4-BE49-F238E27FC236}">
                  <a16:creationId xmlns:a16="http://schemas.microsoft.com/office/drawing/2014/main" id="{228DA06D-CCE1-8398-70C4-DA5C9E45E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834" y="539279"/>
              <a:ext cx="781055" cy="852158"/>
            </a:xfrm>
            <a:custGeom>
              <a:avLst/>
              <a:gdLst>
                <a:gd name="T0" fmla="*/ 17617651 w 79"/>
                <a:gd name="T1" fmla="*/ 0 h 88"/>
                <a:gd name="T2" fmla="*/ 20712233 w 79"/>
                <a:gd name="T3" fmla="*/ 1463107 h 88"/>
                <a:gd name="T4" fmla="*/ 22463560 w 79"/>
                <a:gd name="T5" fmla="*/ 9822049 h 88"/>
                <a:gd name="T6" fmla="*/ 22463560 w 79"/>
                <a:gd name="T7" fmla="*/ 11655747 h 88"/>
                <a:gd name="T8" fmla="*/ 23861497 w 79"/>
                <a:gd name="T9" fmla="*/ 11655747 h 88"/>
                <a:gd name="T10" fmla="*/ 23861497 w 79"/>
                <a:gd name="T11" fmla="*/ 14509475 h 88"/>
                <a:gd name="T12" fmla="*/ 27297656 w 79"/>
                <a:gd name="T13" fmla="*/ 15975624 h 88"/>
                <a:gd name="T14" fmla="*/ 27297656 w 79"/>
                <a:gd name="T15" fmla="*/ 17808706 h 88"/>
                <a:gd name="T16" fmla="*/ 25543473 w 79"/>
                <a:gd name="T17" fmla="*/ 21033019 h 88"/>
                <a:gd name="T18" fmla="*/ 23861497 w 79"/>
                <a:gd name="T19" fmla="*/ 22498553 h 88"/>
                <a:gd name="T20" fmla="*/ 20712233 w 79"/>
                <a:gd name="T21" fmla="*/ 24332250 h 88"/>
                <a:gd name="T22" fmla="*/ 20712233 w 79"/>
                <a:gd name="T23" fmla="*/ 25797665 h 88"/>
                <a:gd name="T24" fmla="*/ 19371843 w 79"/>
                <a:gd name="T25" fmla="*/ 27630767 h 88"/>
                <a:gd name="T26" fmla="*/ 17617651 w 79"/>
                <a:gd name="T27" fmla="*/ 28001347 h 88"/>
                <a:gd name="T28" fmla="*/ 17261376 w 79"/>
                <a:gd name="T29" fmla="*/ 30115134 h 88"/>
                <a:gd name="T30" fmla="*/ 15935694 w 79"/>
                <a:gd name="T31" fmla="*/ 31951268 h 88"/>
                <a:gd name="T32" fmla="*/ 12771727 w 79"/>
                <a:gd name="T33" fmla="*/ 30115134 h 88"/>
                <a:gd name="T34" fmla="*/ 11373799 w 79"/>
                <a:gd name="T35" fmla="*/ 26535199 h 88"/>
                <a:gd name="T36" fmla="*/ 9691840 w 79"/>
                <a:gd name="T37" fmla="*/ 24332250 h 88"/>
                <a:gd name="T38" fmla="*/ 9335566 w 79"/>
                <a:gd name="T39" fmla="*/ 19274736 h 88"/>
                <a:gd name="T40" fmla="*/ 6243849 w 79"/>
                <a:gd name="T41" fmla="*/ 15975624 h 88"/>
                <a:gd name="T42" fmla="*/ 3094574 w 79"/>
                <a:gd name="T43" fmla="*/ 15975624 h 88"/>
                <a:gd name="T44" fmla="*/ 1754193 w 79"/>
                <a:gd name="T45" fmla="*/ 14509475 h 88"/>
                <a:gd name="T46" fmla="*/ 0 w 79"/>
                <a:gd name="T47" fmla="*/ 14142542 h 88"/>
                <a:gd name="T48" fmla="*/ 0 w 79"/>
                <a:gd name="T49" fmla="*/ 10192643 h 88"/>
                <a:gd name="T50" fmla="*/ 1754193 w 79"/>
                <a:gd name="T51" fmla="*/ 10192643 h 88"/>
                <a:gd name="T52" fmla="*/ 3094574 w 79"/>
                <a:gd name="T53" fmla="*/ 11655747 h 88"/>
                <a:gd name="T54" fmla="*/ 4845910 w 79"/>
                <a:gd name="T55" fmla="*/ 11655747 h 88"/>
                <a:gd name="T56" fmla="*/ 4845910 w 79"/>
                <a:gd name="T57" fmla="*/ 10192643 h 88"/>
                <a:gd name="T58" fmla="*/ 6243849 w 79"/>
                <a:gd name="T59" fmla="*/ 11655747 h 88"/>
                <a:gd name="T60" fmla="*/ 8282065 w 79"/>
                <a:gd name="T61" fmla="*/ 10192643 h 88"/>
                <a:gd name="T62" fmla="*/ 9691840 w 79"/>
                <a:gd name="T63" fmla="*/ 11655747 h 88"/>
                <a:gd name="T64" fmla="*/ 11373799 w 79"/>
                <a:gd name="T65" fmla="*/ 11655747 h 88"/>
                <a:gd name="T66" fmla="*/ 12771727 w 79"/>
                <a:gd name="T67" fmla="*/ 10192643 h 88"/>
                <a:gd name="T68" fmla="*/ 15935694 w 79"/>
                <a:gd name="T69" fmla="*/ 3299113 h 88"/>
                <a:gd name="T70" fmla="*/ 17617651 w 79"/>
                <a:gd name="T71" fmla="*/ 1463107 h 88"/>
                <a:gd name="T72" fmla="*/ 17617651 w 79"/>
                <a:gd name="T73" fmla="*/ 0 h 8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9"/>
                <a:gd name="T112" fmla="*/ 0 h 88"/>
                <a:gd name="T113" fmla="*/ 79 w 79"/>
                <a:gd name="T114" fmla="*/ 88 h 8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9" h="88">
                  <a:moveTo>
                    <a:pt x="51" y="0"/>
                  </a:moveTo>
                  <a:lnTo>
                    <a:pt x="60" y="4"/>
                  </a:lnTo>
                  <a:lnTo>
                    <a:pt x="65" y="27"/>
                  </a:lnTo>
                  <a:lnTo>
                    <a:pt x="65" y="32"/>
                  </a:lnTo>
                  <a:lnTo>
                    <a:pt x="69" y="32"/>
                  </a:lnTo>
                  <a:lnTo>
                    <a:pt x="69" y="40"/>
                  </a:lnTo>
                  <a:lnTo>
                    <a:pt x="79" y="44"/>
                  </a:lnTo>
                  <a:lnTo>
                    <a:pt x="79" y="49"/>
                  </a:lnTo>
                  <a:lnTo>
                    <a:pt x="74" y="58"/>
                  </a:lnTo>
                  <a:lnTo>
                    <a:pt x="69" y="62"/>
                  </a:lnTo>
                  <a:lnTo>
                    <a:pt x="60" y="67"/>
                  </a:lnTo>
                  <a:lnTo>
                    <a:pt x="60" y="71"/>
                  </a:lnTo>
                  <a:lnTo>
                    <a:pt x="56" y="76"/>
                  </a:lnTo>
                  <a:lnTo>
                    <a:pt x="51" y="77"/>
                  </a:lnTo>
                  <a:lnTo>
                    <a:pt x="50" y="83"/>
                  </a:lnTo>
                  <a:lnTo>
                    <a:pt x="46" y="88"/>
                  </a:lnTo>
                  <a:lnTo>
                    <a:pt x="37" y="83"/>
                  </a:lnTo>
                  <a:lnTo>
                    <a:pt x="33" y="73"/>
                  </a:lnTo>
                  <a:lnTo>
                    <a:pt x="28" y="67"/>
                  </a:lnTo>
                  <a:lnTo>
                    <a:pt x="27" y="53"/>
                  </a:lnTo>
                  <a:lnTo>
                    <a:pt x="18" y="44"/>
                  </a:lnTo>
                  <a:lnTo>
                    <a:pt x="9" y="44"/>
                  </a:lnTo>
                  <a:lnTo>
                    <a:pt x="5" y="40"/>
                  </a:lnTo>
                  <a:lnTo>
                    <a:pt x="0" y="39"/>
                  </a:lnTo>
                  <a:lnTo>
                    <a:pt x="0" y="28"/>
                  </a:lnTo>
                  <a:lnTo>
                    <a:pt x="5" y="28"/>
                  </a:lnTo>
                  <a:lnTo>
                    <a:pt x="9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8" y="32"/>
                  </a:lnTo>
                  <a:lnTo>
                    <a:pt x="24" y="28"/>
                  </a:lnTo>
                  <a:lnTo>
                    <a:pt x="28" y="32"/>
                  </a:lnTo>
                  <a:lnTo>
                    <a:pt x="33" y="32"/>
                  </a:lnTo>
                  <a:lnTo>
                    <a:pt x="37" y="28"/>
                  </a:lnTo>
                  <a:lnTo>
                    <a:pt x="46" y="9"/>
                  </a:lnTo>
                  <a:lnTo>
                    <a:pt x="51" y="4"/>
                  </a:lnTo>
                  <a:lnTo>
                    <a:pt x="51" y="0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4" name="Freeform 134">
              <a:extLst>
                <a:ext uri="{FF2B5EF4-FFF2-40B4-BE49-F238E27FC236}">
                  <a16:creationId xmlns:a16="http://schemas.microsoft.com/office/drawing/2014/main" id="{24158AD3-75B4-AEDE-93CC-9D0248372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5793" y="857864"/>
              <a:ext cx="2786903" cy="1940814"/>
            </a:xfrm>
            <a:custGeom>
              <a:avLst/>
              <a:gdLst>
                <a:gd name="T0" fmla="*/ 1437642 w 281"/>
                <a:gd name="T1" fmla="*/ 55740166 h 201"/>
                <a:gd name="T2" fmla="*/ 2875896 w 281"/>
                <a:gd name="T3" fmla="*/ 52497315 h 201"/>
                <a:gd name="T4" fmla="*/ 4225462 w 281"/>
                <a:gd name="T5" fmla="*/ 47903353 h 201"/>
                <a:gd name="T6" fmla="*/ 14205492 w 281"/>
                <a:gd name="T7" fmla="*/ 41870973 h 201"/>
                <a:gd name="T8" fmla="*/ 20871668 w 281"/>
                <a:gd name="T9" fmla="*/ 40081509 h 201"/>
                <a:gd name="T10" fmla="*/ 24458851 w 281"/>
                <a:gd name="T11" fmla="*/ 23056969 h 201"/>
                <a:gd name="T12" fmla="*/ 22309319 w 281"/>
                <a:gd name="T13" fmla="*/ 19887991 h 201"/>
                <a:gd name="T14" fmla="*/ 19521500 w 281"/>
                <a:gd name="T15" fmla="*/ 12065524 h 201"/>
                <a:gd name="T16" fmla="*/ 24823169 w 281"/>
                <a:gd name="T17" fmla="*/ 12065524 h 201"/>
                <a:gd name="T18" fmla="*/ 21235986 w 281"/>
                <a:gd name="T19" fmla="*/ 9187749 h 201"/>
                <a:gd name="T20" fmla="*/ 30851216 w 281"/>
                <a:gd name="T21" fmla="*/ 5670910 h 201"/>
                <a:gd name="T22" fmla="*/ 31213123 w 281"/>
                <a:gd name="T23" fmla="*/ 4593924 h 201"/>
                <a:gd name="T24" fmla="*/ 35802768 w 281"/>
                <a:gd name="T25" fmla="*/ 2516168 h 201"/>
                <a:gd name="T26" fmla="*/ 37588120 w 281"/>
                <a:gd name="T27" fmla="*/ 7471604 h 201"/>
                <a:gd name="T28" fmla="*/ 41466487 w 281"/>
                <a:gd name="T29" fmla="*/ 10626347 h 201"/>
                <a:gd name="T30" fmla="*/ 44982936 w 281"/>
                <a:gd name="T31" fmla="*/ 8910782 h 201"/>
                <a:gd name="T32" fmla="*/ 46056151 w 281"/>
                <a:gd name="T33" fmla="*/ 10991435 h 201"/>
                <a:gd name="T34" fmla="*/ 48570752 w 281"/>
                <a:gd name="T35" fmla="*/ 7471604 h 201"/>
                <a:gd name="T36" fmla="*/ 58112047 w 281"/>
                <a:gd name="T37" fmla="*/ 0 h 201"/>
                <a:gd name="T38" fmla="*/ 64502021 w 281"/>
                <a:gd name="T39" fmla="*/ 13854870 h 201"/>
                <a:gd name="T40" fmla="*/ 63428727 w 281"/>
                <a:gd name="T41" fmla="*/ 18463140 h 201"/>
                <a:gd name="T42" fmla="*/ 69441758 w 281"/>
                <a:gd name="T43" fmla="*/ 21256270 h 201"/>
                <a:gd name="T44" fmla="*/ 72679620 w 281"/>
                <a:gd name="T45" fmla="*/ 15585367 h 201"/>
                <a:gd name="T46" fmla="*/ 77981244 w 281"/>
                <a:gd name="T47" fmla="*/ 13854870 h 201"/>
                <a:gd name="T48" fmla="*/ 79345060 w 281"/>
                <a:gd name="T49" fmla="*/ 12065524 h 201"/>
                <a:gd name="T50" fmla="*/ 86085007 w 281"/>
                <a:gd name="T51" fmla="*/ 10626347 h 201"/>
                <a:gd name="T52" fmla="*/ 91039681 w 281"/>
                <a:gd name="T53" fmla="*/ 21256270 h 201"/>
                <a:gd name="T54" fmla="*/ 96426422 w 281"/>
                <a:gd name="T55" fmla="*/ 23422175 h 201"/>
                <a:gd name="T56" fmla="*/ 99578534 w 281"/>
                <a:gd name="T57" fmla="*/ 26650126 h 201"/>
                <a:gd name="T58" fmla="*/ 90748527 w 281"/>
                <a:gd name="T59" fmla="*/ 55740166 h 201"/>
                <a:gd name="T60" fmla="*/ 88960823 w 281"/>
                <a:gd name="T61" fmla="*/ 62776216 h 201"/>
                <a:gd name="T62" fmla="*/ 65925348 w 281"/>
                <a:gd name="T63" fmla="*/ 63141442 h 201"/>
                <a:gd name="T64" fmla="*/ 57747749 w 281"/>
                <a:gd name="T65" fmla="*/ 59260029 h 201"/>
                <a:gd name="T66" fmla="*/ 56674455 w 281"/>
                <a:gd name="T67" fmla="*/ 62414744 h 201"/>
                <a:gd name="T68" fmla="*/ 54233710 w 281"/>
                <a:gd name="T69" fmla="*/ 64927893 h 201"/>
                <a:gd name="T70" fmla="*/ 47132488 w 281"/>
                <a:gd name="T71" fmla="*/ 68809385 h 201"/>
                <a:gd name="T72" fmla="*/ 43269049 w 281"/>
                <a:gd name="T73" fmla="*/ 68447163 h 201"/>
                <a:gd name="T74" fmla="*/ 19868589 w 281"/>
                <a:gd name="T75" fmla="*/ 63141442 h 2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1"/>
                <a:gd name="T115" fmla="*/ 0 h 201"/>
                <a:gd name="T116" fmla="*/ 281 w 281"/>
                <a:gd name="T117" fmla="*/ 201 h 20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1" h="201">
                  <a:moveTo>
                    <a:pt x="0" y="161"/>
                  </a:moveTo>
                  <a:lnTo>
                    <a:pt x="4" y="157"/>
                  </a:lnTo>
                  <a:lnTo>
                    <a:pt x="9" y="154"/>
                  </a:lnTo>
                  <a:lnTo>
                    <a:pt x="8" y="148"/>
                  </a:lnTo>
                  <a:lnTo>
                    <a:pt x="12" y="140"/>
                  </a:lnTo>
                  <a:lnTo>
                    <a:pt x="12" y="135"/>
                  </a:lnTo>
                  <a:lnTo>
                    <a:pt x="25" y="117"/>
                  </a:lnTo>
                  <a:lnTo>
                    <a:pt x="40" y="118"/>
                  </a:lnTo>
                  <a:lnTo>
                    <a:pt x="45" y="114"/>
                  </a:lnTo>
                  <a:lnTo>
                    <a:pt x="59" y="113"/>
                  </a:lnTo>
                  <a:lnTo>
                    <a:pt x="59" y="110"/>
                  </a:lnTo>
                  <a:lnTo>
                    <a:pt x="69" y="65"/>
                  </a:lnTo>
                  <a:lnTo>
                    <a:pt x="64" y="61"/>
                  </a:lnTo>
                  <a:lnTo>
                    <a:pt x="63" y="56"/>
                  </a:lnTo>
                  <a:lnTo>
                    <a:pt x="55" y="45"/>
                  </a:lnTo>
                  <a:lnTo>
                    <a:pt x="55" y="34"/>
                  </a:lnTo>
                  <a:lnTo>
                    <a:pt x="65" y="30"/>
                  </a:lnTo>
                  <a:lnTo>
                    <a:pt x="70" y="34"/>
                  </a:lnTo>
                  <a:lnTo>
                    <a:pt x="69" y="26"/>
                  </a:lnTo>
                  <a:lnTo>
                    <a:pt x="60" y="26"/>
                  </a:lnTo>
                  <a:lnTo>
                    <a:pt x="59" y="16"/>
                  </a:lnTo>
                  <a:lnTo>
                    <a:pt x="87" y="16"/>
                  </a:lnTo>
                  <a:lnTo>
                    <a:pt x="85" y="12"/>
                  </a:lnTo>
                  <a:lnTo>
                    <a:pt x="88" y="13"/>
                  </a:lnTo>
                  <a:lnTo>
                    <a:pt x="92" y="15"/>
                  </a:lnTo>
                  <a:lnTo>
                    <a:pt x="101" y="7"/>
                  </a:lnTo>
                  <a:lnTo>
                    <a:pt x="102" y="14"/>
                  </a:lnTo>
                  <a:lnTo>
                    <a:pt x="106" y="21"/>
                  </a:lnTo>
                  <a:lnTo>
                    <a:pt x="111" y="22"/>
                  </a:lnTo>
                  <a:lnTo>
                    <a:pt x="117" y="30"/>
                  </a:lnTo>
                  <a:lnTo>
                    <a:pt x="122" y="27"/>
                  </a:lnTo>
                  <a:lnTo>
                    <a:pt x="127" y="25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45" y="21"/>
                  </a:lnTo>
                  <a:lnTo>
                    <a:pt x="164" y="0"/>
                  </a:lnTo>
                  <a:lnTo>
                    <a:pt x="173" y="7"/>
                  </a:lnTo>
                  <a:lnTo>
                    <a:pt x="182" y="39"/>
                  </a:lnTo>
                  <a:lnTo>
                    <a:pt x="182" y="51"/>
                  </a:lnTo>
                  <a:lnTo>
                    <a:pt x="179" y="52"/>
                  </a:lnTo>
                  <a:lnTo>
                    <a:pt x="192" y="60"/>
                  </a:lnTo>
                  <a:lnTo>
                    <a:pt x="196" y="60"/>
                  </a:lnTo>
                  <a:lnTo>
                    <a:pt x="196" y="51"/>
                  </a:lnTo>
                  <a:lnTo>
                    <a:pt x="205" y="44"/>
                  </a:lnTo>
                  <a:lnTo>
                    <a:pt x="210" y="51"/>
                  </a:lnTo>
                  <a:lnTo>
                    <a:pt x="220" y="39"/>
                  </a:lnTo>
                  <a:lnTo>
                    <a:pt x="224" y="39"/>
                  </a:lnTo>
                  <a:lnTo>
                    <a:pt x="224" y="34"/>
                  </a:lnTo>
                  <a:lnTo>
                    <a:pt x="229" y="30"/>
                  </a:lnTo>
                  <a:lnTo>
                    <a:pt x="243" y="30"/>
                  </a:lnTo>
                  <a:lnTo>
                    <a:pt x="243" y="43"/>
                  </a:lnTo>
                  <a:lnTo>
                    <a:pt x="257" y="60"/>
                  </a:lnTo>
                  <a:lnTo>
                    <a:pt x="266" y="66"/>
                  </a:lnTo>
                  <a:lnTo>
                    <a:pt x="272" y="66"/>
                  </a:lnTo>
                  <a:lnTo>
                    <a:pt x="279" y="70"/>
                  </a:lnTo>
                  <a:lnTo>
                    <a:pt x="281" y="75"/>
                  </a:lnTo>
                  <a:lnTo>
                    <a:pt x="251" y="148"/>
                  </a:lnTo>
                  <a:lnTo>
                    <a:pt x="256" y="157"/>
                  </a:lnTo>
                  <a:lnTo>
                    <a:pt x="251" y="161"/>
                  </a:lnTo>
                  <a:lnTo>
                    <a:pt x="251" y="177"/>
                  </a:lnTo>
                  <a:lnTo>
                    <a:pt x="201" y="183"/>
                  </a:lnTo>
                  <a:lnTo>
                    <a:pt x="186" y="178"/>
                  </a:lnTo>
                  <a:lnTo>
                    <a:pt x="178" y="167"/>
                  </a:lnTo>
                  <a:lnTo>
                    <a:pt x="163" y="167"/>
                  </a:lnTo>
                  <a:lnTo>
                    <a:pt x="164" y="173"/>
                  </a:lnTo>
                  <a:lnTo>
                    <a:pt x="160" y="176"/>
                  </a:lnTo>
                  <a:lnTo>
                    <a:pt x="159" y="183"/>
                  </a:lnTo>
                  <a:lnTo>
                    <a:pt x="153" y="183"/>
                  </a:lnTo>
                  <a:lnTo>
                    <a:pt x="140" y="191"/>
                  </a:lnTo>
                  <a:lnTo>
                    <a:pt x="133" y="194"/>
                  </a:lnTo>
                  <a:lnTo>
                    <a:pt x="127" y="193"/>
                  </a:lnTo>
                  <a:lnTo>
                    <a:pt x="122" y="193"/>
                  </a:lnTo>
                  <a:lnTo>
                    <a:pt x="115" y="201"/>
                  </a:lnTo>
                  <a:lnTo>
                    <a:pt x="56" y="178"/>
                  </a:lnTo>
                  <a:lnTo>
                    <a:pt x="0" y="161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5" name="Freeform 135">
              <a:extLst>
                <a:ext uri="{FF2B5EF4-FFF2-40B4-BE49-F238E27FC236}">
                  <a16:creationId xmlns:a16="http://schemas.microsoft.com/office/drawing/2014/main" id="{8E188956-D500-A127-6B49-1365585D7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0149" y="2198645"/>
              <a:ext cx="576253" cy="386990"/>
            </a:xfrm>
            <a:custGeom>
              <a:avLst/>
              <a:gdLst>
                <a:gd name="T0" fmla="*/ 0 w 58"/>
                <a:gd name="T1" fmla="*/ 3281058 h 40"/>
                <a:gd name="T2" fmla="*/ 3272310 w 58"/>
                <a:gd name="T3" fmla="*/ 3281058 h 40"/>
                <a:gd name="T4" fmla="*/ 5004894 w 58"/>
                <a:gd name="T5" fmla="*/ 1824530 h 40"/>
                <a:gd name="T6" fmla="*/ 7558972 w 58"/>
                <a:gd name="T7" fmla="*/ 0 h 40"/>
                <a:gd name="T8" fmla="*/ 7558972 w 58"/>
                <a:gd name="T9" fmla="*/ 1824530 h 40"/>
                <a:gd name="T10" fmla="*/ 5740585 w 58"/>
                <a:gd name="T11" fmla="*/ 3281058 h 40"/>
                <a:gd name="T12" fmla="*/ 5740585 w 58"/>
                <a:gd name="T13" fmla="*/ 5031120 h 40"/>
                <a:gd name="T14" fmla="*/ 9012770 w 58"/>
                <a:gd name="T15" fmla="*/ 5031120 h 40"/>
                <a:gd name="T16" fmla="*/ 10745510 w 58"/>
                <a:gd name="T17" fmla="*/ 6487648 h 40"/>
                <a:gd name="T18" fmla="*/ 10745510 w 58"/>
                <a:gd name="T19" fmla="*/ 5031120 h 40"/>
                <a:gd name="T20" fmla="*/ 12198818 w 58"/>
                <a:gd name="T21" fmla="*/ 3281058 h 40"/>
                <a:gd name="T22" fmla="*/ 20478954 w 58"/>
                <a:gd name="T23" fmla="*/ 3634626 h 40"/>
                <a:gd name="T24" fmla="*/ 20847011 w 58"/>
                <a:gd name="T25" fmla="*/ 9031423 h 40"/>
                <a:gd name="T26" fmla="*/ 16924945 w 58"/>
                <a:gd name="T27" fmla="*/ 10122273 h 40"/>
                <a:gd name="T28" fmla="*/ 10466714 w 58"/>
                <a:gd name="T29" fmla="*/ 12591563 h 40"/>
                <a:gd name="T30" fmla="*/ 8647716 w 58"/>
                <a:gd name="T31" fmla="*/ 14416092 h 40"/>
                <a:gd name="T32" fmla="*/ 7194408 w 58"/>
                <a:gd name="T33" fmla="*/ 14416092 h 40"/>
                <a:gd name="T34" fmla="*/ 6826320 w 58"/>
                <a:gd name="T35" fmla="*/ 12591563 h 40"/>
                <a:gd name="T36" fmla="*/ 8647716 w 58"/>
                <a:gd name="T37" fmla="*/ 8665751 h 40"/>
                <a:gd name="T38" fmla="*/ 7194408 w 58"/>
                <a:gd name="T39" fmla="*/ 8665751 h 40"/>
                <a:gd name="T40" fmla="*/ 4286667 w 58"/>
                <a:gd name="T41" fmla="*/ 10122273 h 40"/>
                <a:gd name="T42" fmla="*/ 0 w 58"/>
                <a:gd name="T43" fmla="*/ 10122273 h 40"/>
                <a:gd name="T44" fmla="*/ 0 w 58"/>
                <a:gd name="T45" fmla="*/ 3281058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8"/>
                <a:gd name="T70" fmla="*/ 0 h 40"/>
                <a:gd name="T71" fmla="*/ 58 w 58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8" h="40">
                  <a:moveTo>
                    <a:pt x="0" y="9"/>
                  </a:moveTo>
                  <a:lnTo>
                    <a:pt x="9" y="9"/>
                  </a:lnTo>
                  <a:lnTo>
                    <a:pt x="14" y="5"/>
                  </a:lnTo>
                  <a:lnTo>
                    <a:pt x="21" y="0"/>
                  </a:lnTo>
                  <a:lnTo>
                    <a:pt x="21" y="5"/>
                  </a:lnTo>
                  <a:lnTo>
                    <a:pt x="16" y="9"/>
                  </a:lnTo>
                  <a:lnTo>
                    <a:pt x="16" y="14"/>
                  </a:lnTo>
                  <a:lnTo>
                    <a:pt x="25" y="14"/>
                  </a:lnTo>
                  <a:lnTo>
                    <a:pt x="30" y="18"/>
                  </a:lnTo>
                  <a:lnTo>
                    <a:pt x="30" y="14"/>
                  </a:lnTo>
                  <a:lnTo>
                    <a:pt x="34" y="9"/>
                  </a:lnTo>
                  <a:lnTo>
                    <a:pt x="57" y="10"/>
                  </a:lnTo>
                  <a:lnTo>
                    <a:pt x="58" y="25"/>
                  </a:lnTo>
                  <a:lnTo>
                    <a:pt x="47" y="28"/>
                  </a:lnTo>
                  <a:lnTo>
                    <a:pt x="29" y="35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19" y="35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12" y="28"/>
                  </a:lnTo>
                  <a:lnTo>
                    <a:pt x="0" y="28"/>
                  </a:lnTo>
                  <a:lnTo>
                    <a:pt x="0" y="9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6" name="Freeform 136">
              <a:extLst>
                <a:ext uri="{FF2B5EF4-FFF2-40B4-BE49-F238E27FC236}">
                  <a16:creationId xmlns:a16="http://schemas.microsoft.com/office/drawing/2014/main" id="{A70DD43C-D836-EE94-BC33-C8D1178A4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8336" y="2769359"/>
              <a:ext cx="248974" cy="316629"/>
            </a:xfrm>
            <a:custGeom>
              <a:avLst/>
              <a:gdLst>
                <a:gd name="T0" fmla="*/ 1473810 w 25"/>
                <a:gd name="T1" fmla="*/ 11127524 h 33"/>
                <a:gd name="T2" fmla="*/ 3320403 w 25"/>
                <a:gd name="T3" fmla="*/ 11127524 h 33"/>
                <a:gd name="T4" fmla="*/ 4437047 w 25"/>
                <a:gd name="T5" fmla="*/ 8453119 h 33"/>
                <a:gd name="T6" fmla="*/ 9156075 w 25"/>
                <a:gd name="T7" fmla="*/ 7081854 h 33"/>
                <a:gd name="T8" fmla="*/ 7310098 w 25"/>
                <a:gd name="T9" fmla="*/ 3022350 h 33"/>
                <a:gd name="T10" fmla="*/ 1845983 w 25"/>
                <a:gd name="T11" fmla="*/ 0 h 33"/>
                <a:gd name="T12" fmla="*/ 1473810 w 25"/>
                <a:gd name="T13" fmla="*/ 6394861 h 33"/>
                <a:gd name="T14" fmla="*/ 0 w 25"/>
                <a:gd name="T15" fmla="*/ 6731090 h 33"/>
                <a:gd name="T16" fmla="*/ 1473810 w 25"/>
                <a:gd name="T17" fmla="*/ 9420028 h 33"/>
                <a:gd name="T18" fmla="*/ 1473810 w 25"/>
                <a:gd name="T19" fmla="*/ 11127524 h 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3"/>
                <a:gd name="T32" fmla="*/ 25 w 25"/>
                <a:gd name="T33" fmla="*/ 33 h 3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3">
                  <a:moveTo>
                    <a:pt x="4" y="33"/>
                  </a:moveTo>
                  <a:lnTo>
                    <a:pt x="9" y="33"/>
                  </a:lnTo>
                  <a:lnTo>
                    <a:pt x="12" y="25"/>
                  </a:lnTo>
                  <a:lnTo>
                    <a:pt x="25" y="21"/>
                  </a:lnTo>
                  <a:lnTo>
                    <a:pt x="20" y="9"/>
                  </a:lnTo>
                  <a:lnTo>
                    <a:pt x="5" y="0"/>
                  </a:lnTo>
                  <a:lnTo>
                    <a:pt x="4" y="19"/>
                  </a:lnTo>
                  <a:lnTo>
                    <a:pt x="0" y="20"/>
                  </a:lnTo>
                  <a:lnTo>
                    <a:pt x="4" y="28"/>
                  </a:lnTo>
                  <a:lnTo>
                    <a:pt x="4" y="33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7" name="Freeform 137">
              <a:extLst>
                <a:ext uri="{FF2B5EF4-FFF2-40B4-BE49-F238E27FC236}">
                  <a16:creationId xmlns:a16="http://schemas.microsoft.com/office/drawing/2014/main" id="{60CE282B-7C4C-3831-FB75-BA90E7E05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1896" y="1391440"/>
              <a:ext cx="1084241" cy="1407235"/>
            </a:xfrm>
            <a:custGeom>
              <a:avLst/>
              <a:gdLst>
                <a:gd name="T0" fmla="*/ 13041497 w 109"/>
                <a:gd name="T1" fmla="*/ 0 h 146"/>
                <a:gd name="T2" fmla="*/ 14503499 w 109"/>
                <a:gd name="T3" fmla="*/ 1423608 h 146"/>
                <a:gd name="T4" fmla="*/ 17800827 w 109"/>
                <a:gd name="T5" fmla="*/ 1423608 h 146"/>
                <a:gd name="T6" fmla="*/ 17800827 w 109"/>
                <a:gd name="T7" fmla="*/ 2762068 h 146"/>
                <a:gd name="T8" fmla="*/ 19633310 w 109"/>
                <a:gd name="T9" fmla="*/ 1423608 h 146"/>
                <a:gd name="T10" fmla="*/ 22856569 w 109"/>
                <a:gd name="T11" fmla="*/ 4891359 h 146"/>
                <a:gd name="T12" fmla="*/ 21394071 w 109"/>
                <a:gd name="T13" fmla="*/ 6314967 h 146"/>
                <a:gd name="T14" fmla="*/ 22856569 w 109"/>
                <a:gd name="T15" fmla="*/ 6673320 h 146"/>
                <a:gd name="T16" fmla="*/ 22856569 w 109"/>
                <a:gd name="T17" fmla="*/ 7665149 h 146"/>
                <a:gd name="T18" fmla="*/ 21394071 w 109"/>
                <a:gd name="T19" fmla="*/ 9077009 h 146"/>
                <a:gd name="T20" fmla="*/ 22856569 w 109"/>
                <a:gd name="T21" fmla="*/ 9435357 h 146"/>
                <a:gd name="T22" fmla="*/ 21394071 w 109"/>
                <a:gd name="T23" fmla="*/ 11908869 h 146"/>
                <a:gd name="T24" fmla="*/ 22856569 w 109"/>
                <a:gd name="T25" fmla="*/ 11908869 h 146"/>
                <a:gd name="T26" fmla="*/ 24689080 w 109"/>
                <a:gd name="T27" fmla="*/ 9435357 h 146"/>
                <a:gd name="T28" fmla="*/ 26153996 w 109"/>
                <a:gd name="T29" fmla="*/ 9435357 h 146"/>
                <a:gd name="T30" fmla="*/ 26509405 w 109"/>
                <a:gd name="T31" fmla="*/ 8012361 h 146"/>
                <a:gd name="T32" fmla="*/ 29732184 w 109"/>
                <a:gd name="T33" fmla="*/ 7665149 h 146"/>
                <a:gd name="T34" fmla="*/ 29376775 w 109"/>
                <a:gd name="T35" fmla="*/ 6314967 h 146"/>
                <a:gd name="T36" fmla="*/ 34861984 w 109"/>
                <a:gd name="T37" fmla="*/ 9435357 h 146"/>
                <a:gd name="T38" fmla="*/ 39547360 w 109"/>
                <a:gd name="T39" fmla="*/ 9435357 h 146"/>
                <a:gd name="T40" fmla="*/ 36252865 w 109"/>
                <a:gd name="T41" fmla="*/ 13262685 h 146"/>
                <a:gd name="T42" fmla="*/ 34492129 w 109"/>
                <a:gd name="T43" fmla="*/ 13262685 h 146"/>
                <a:gd name="T44" fmla="*/ 33029611 w 109"/>
                <a:gd name="T45" fmla="*/ 16456496 h 146"/>
                <a:gd name="T46" fmla="*/ 32674796 w 109"/>
                <a:gd name="T47" fmla="*/ 23403728 h 146"/>
                <a:gd name="T48" fmla="*/ 31564557 w 109"/>
                <a:gd name="T49" fmla="*/ 24827316 h 146"/>
                <a:gd name="T50" fmla="*/ 31194800 w 109"/>
                <a:gd name="T51" fmla="*/ 28654045 h 146"/>
                <a:gd name="T52" fmla="*/ 32674796 w 109"/>
                <a:gd name="T53" fmla="*/ 28654045 h 146"/>
                <a:gd name="T54" fmla="*/ 32674796 w 109"/>
                <a:gd name="T55" fmla="*/ 32206819 h 146"/>
                <a:gd name="T56" fmla="*/ 24321603 w 109"/>
                <a:gd name="T57" fmla="*/ 32565281 h 146"/>
                <a:gd name="T58" fmla="*/ 21394071 w 109"/>
                <a:gd name="T59" fmla="*/ 35327357 h 146"/>
                <a:gd name="T60" fmla="*/ 17800827 w 109"/>
                <a:gd name="T61" fmla="*/ 37095164 h 146"/>
                <a:gd name="T62" fmla="*/ 14503499 w 109"/>
                <a:gd name="T63" fmla="*/ 44042973 h 146"/>
                <a:gd name="T64" fmla="*/ 14503499 w 109"/>
                <a:gd name="T65" fmla="*/ 47236813 h 146"/>
                <a:gd name="T66" fmla="*/ 12671017 w 109"/>
                <a:gd name="T67" fmla="*/ 51078258 h 146"/>
                <a:gd name="T68" fmla="*/ 11280731 w 109"/>
                <a:gd name="T69" fmla="*/ 51078258 h 146"/>
                <a:gd name="T70" fmla="*/ 9448370 w 109"/>
                <a:gd name="T71" fmla="*/ 47957128 h 146"/>
                <a:gd name="T72" fmla="*/ 9448370 w 109"/>
                <a:gd name="T73" fmla="*/ 46172160 h 146"/>
                <a:gd name="T74" fmla="*/ 7612821 w 109"/>
                <a:gd name="T75" fmla="*/ 44763328 h 146"/>
                <a:gd name="T76" fmla="*/ 9448370 w 109"/>
                <a:gd name="T77" fmla="*/ 41642277 h 146"/>
                <a:gd name="T78" fmla="*/ 11280731 w 109"/>
                <a:gd name="T79" fmla="*/ 41642277 h 146"/>
                <a:gd name="T80" fmla="*/ 11280731 w 109"/>
                <a:gd name="T81" fmla="*/ 39154659 h 146"/>
                <a:gd name="T82" fmla="*/ 7612821 w 109"/>
                <a:gd name="T83" fmla="*/ 39154659 h 146"/>
                <a:gd name="T84" fmla="*/ 5055153 w 109"/>
                <a:gd name="T85" fmla="*/ 35686312 h 146"/>
                <a:gd name="T86" fmla="*/ 5055153 w 109"/>
                <a:gd name="T87" fmla="*/ 33904342 h 146"/>
                <a:gd name="T88" fmla="*/ 3667913 w 109"/>
                <a:gd name="T89" fmla="*/ 33904342 h 146"/>
                <a:gd name="T90" fmla="*/ 5055153 w 109"/>
                <a:gd name="T91" fmla="*/ 32565281 h 146"/>
                <a:gd name="T92" fmla="*/ 5425634 w 109"/>
                <a:gd name="T93" fmla="*/ 25186290 h 146"/>
                <a:gd name="T94" fmla="*/ 3667913 w 109"/>
                <a:gd name="T95" fmla="*/ 23762683 h 146"/>
                <a:gd name="T96" fmla="*/ 1832384 w 109"/>
                <a:gd name="T97" fmla="*/ 23762683 h 146"/>
                <a:gd name="T98" fmla="*/ 0 w 109"/>
                <a:gd name="T99" fmla="*/ 22065278 h 146"/>
                <a:gd name="T100" fmla="*/ 5425634 w 109"/>
                <a:gd name="T101" fmla="*/ 18871473 h 146"/>
                <a:gd name="T102" fmla="*/ 7982711 w 109"/>
                <a:gd name="T103" fmla="*/ 13621156 h 146"/>
                <a:gd name="T104" fmla="*/ 9818116 w 109"/>
                <a:gd name="T105" fmla="*/ 12270822 h 146"/>
                <a:gd name="T106" fmla="*/ 9818116 w 109"/>
                <a:gd name="T107" fmla="*/ 8012361 h 146"/>
                <a:gd name="T108" fmla="*/ 13041497 w 109"/>
                <a:gd name="T109" fmla="*/ 4891359 h 146"/>
                <a:gd name="T110" fmla="*/ 13041497 w 109"/>
                <a:gd name="T111" fmla="*/ 0 h 1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9"/>
                <a:gd name="T169" fmla="*/ 0 h 146"/>
                <a:gd name="T170" fmla="*/ 109 w 109"/>
                <a:gd name="T171" fmla="*/ 146 h 1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9" h="146">
                  <a:moveTo>
                    <a:pt x="36" y="0"/>
                  </a:moveTo>
                  <a:lnTo>
                    <a:pt x="40" y="4"/>
                  </a:lnTo>
                  <a:lnTo>
                    <a:pt x="49" y="4"/>
                  </a:lnTo>
                  <a:lnTo>
                    <a:pt x="49" y="8"/>
                  </a:lnTo>
                  <a:lnTo>
                    <a:pt x="54" y="4"/>
                  </a:lnTo>
                  <a:lnTo>
                    <a:pt x="63" y="14"/>
                  </a:lnTo>
                  <a:lnTo>
                    <a:pt x="59" y="18"/>
                  </a:lnTo>
                  <a:lnTo>
                    <a:pt x="63" y="19"/>
                  </a:lnTo>
                  <a:lnTo>
                    <a:pt x="63" y="22"/>
                  </a:lnTo>
                  <a:lnTo>
                    <a:pt x="59" y="26"/>
                  </a:lnTo>
                  <a:lnTo>
                    <a:pt x="63" y="27"/>
                  </a:lnTo>
                  <a:lnTo>
                    <a:pt x="59" y="34"/>
                  </a:lnTo>
                  <a:lnTo>
                    <a:pt x="63" y="34"/>
                  </a:lnTo>
                  <a:lnTo>
                    <a:pt x="68" y="27"/>
                  </a:lnTo>
                  <a:lnTo>
                    <a:pt x="72" y="27"/>
                  </a:lnTo>
                  <a:lnTo>
                    <a:pt x="73" y="23"/>
                  </a:lnTo>
                  <a:lnTo>
                    <a:pt x="82" y="22"/>
                  </a:lnTo>
                  <a:lnTo>
                    <a:pt x="81" y="18"/>
                  </a:lnTo>
                  <a:lnTo>
                    <a:pt x="96" y="27"/>
                  </a:lnTo>
                  <a:lnTo>
                    <a:pt x="109" y="27"/>
                  </a:lnTo>
                  <a:lnTo>
                    <a:pt x="100" y="38"/>
                  </a:lnTo>
                  <a:lnTo>
                    <a:pt x="95" y="38"/>
                  </a:lnTo>
                  <a:lnTo>
                    <a:pt x="91" y="47"/>
                  </a:lnTo>
                  <a:lnTo>
                    <a:pt x="90" y="67"/>
                  </a:lnTo>
                  <a:lnTo>
                    <a:pt x="87" y="71"/>
                  </a:lnTo>
                  <a:lnTo>
                    <a:pt x="86" y="82"/>
                  </a:lnTo>
                  <a:lnTo>
                    <a:pt x="90" y="82"/>
                  </a:lnTo>
                  <a:lnTo>
                    <a:pt x="90" y="92"/>
                  </a:lnTo>
                  <a:lnTo>
                    <a:pt x="67" y="93"/>
                  </a:lnTo>
                  <a:lnTo>
                    <a:pt x="59" y="101"/>
                  </a:lnTo>
                  <a:lnTo>
                    <a:pt x="49" y="106"/>
                  </a:lnTo>
                  <a:lnTo>
                    <a:pt x="40" y="126"/>
                  </a:lnTo>
                  <a:lnTo>
                    <a:pt x="40" y="135"/>
                  </a:lnTo>
                  <a:lnTo>
                    <a:pt x="35" y="146"/>
                  </a:lnTo>
                  <a:lnTo>
                    <a:pt x="31" y="146"/>
                  </a:lnTo>
                  <a:lnTo>
                    <a:pt x="26" y="137"/>
                  </a:lnTo>
                  <a:lnTo>
                    <a:pt x="26" y="132"/>
                  </a:lnTo>
                  <a:lnTo>
                    <a:pt x="21" y="128"/>
                  </a:lnTo>
                  <a:lnTo>
                    <a:pt x="26" y="119"/>
                  </a:lnTo>
                  <a:lnTo>
                    <a:pt x="31" y="119"/>
                  </a:lnTo>
                  <a:lnTo>
                    <a:pt x="31" y="112"/>
                  </a:lnTo>
                  <a:lnTo>
                    <a:pt x="21" y="112"/>
                  </a:lnTo>
                  <a:lnTo>
                    <a:pt x="14" y="102"/>
                  </a:lnTo>
                  <a:lnTo>
                    <a:pt x="14" y="97"/>
                  </a:lnTo>
                  <a:lnTo>
                    <a:pt x="10" y="97"/>
                  </a:lnTo>
                  <a:lnTo>
                    <a:pt x="14" y="93"/>
                  </a:lnTo>
                  <a:lnTo>
                    <a:pt x="15" y="72"/>
                  </a:lnTo>
                  <a:lnTo>
                    <a:pt x="10" y="68"/>
                  </a:lnTo>
                  <a:lnTo>
                    <a:pt x="5" y="68"/>
                  </a:lnTo>
                  <a:lnTo>
                    <a:pt x="0" y="63"/>
                  </a:lnTo>
                  <a:lnTo>
                    <a:pt x="15" y="54"/>
                  </a:lnTo>
                  <a:lnTo>
                    <a:pt x="22" y="39"/>
                  </a:lnTo>
                  <a:lnTo>
                    <a:pt x="27" y="35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36" y="0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8" name="Freeform 138">
              <a:extLst>
                <a:ext uri="{FF2B5EF4-FFF2-40B4-BE49-F238E27FC236}">
                  <a16:creationId xmlns:a16="http://schemas.microsoft.com/office/drawing/2014/main" id="{D848A932-4000-4BC9-697C-0EF929D84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372" y="2470320"/>
              <a:ext cx="1100304" cy="916659"/>
            </a:xfrm>
            <a:custGeom>
              <a:avLst/>
              <a:gdLst>
                <a:gd name="T0" fmla="*/ 24368921 w 111"/>
                <a:gd name="T1" fmla="*/ 3865246 h 95"/>
                <a:gd name="T2" fmla="*/ 28944355 w 111"/>
                <a:gd name="T3" fmla="*/ 5644944 h 95"/>
                <a:gd name="T4" fmla="*/ 28944355 w 111"/>
                <a:gd name="T5" fmla="*/ 13434264 h 95"/>
                <a:gd name="T6" fmla="*/ 32448690 w 111"/>
                <a:gd name="T7" fmla="*/ 18008701 h 95"/>
                <a:gd name="T8" fmla="*/ 37384737 w 111"/>
                <a:gd name="T9" fmla="*/ 18008701 h 95"/>
                <a:gd name="T10" fmla="*/ 37384737 w 111"/>
                <a:gd name="T11" fmla="*/ 21152259 h 95"/>
                <a:gd name="T12" fmla="*/ 39165135 w 111"/>
                <a:gd name="T13" fmla="*/ 24366438 h 95"/>
                <a:gd name="T14" fmla="*/ 39165135 w 111"/>
                <a:gd name="T15" fmla="*/ 25727426 h 95"/>
                <a:gd name="T16" fmla="*/ 37384737 w 111"/>
                <a:gd name="T17" fmla="*/ 27521908 h 95"/>
                <a:gd name="T18" fmla="*/ 36023822 w 111"/>
                <a:gd name="T19" fmla="*/ 31736450 h 95"/>
                <a:gd name="T20" fmla="*/ 34244017 w 111"/>
                <a:gd name="T21" fmla="*/ 33516003 h 95"/>
                <a:gd name="T22" fmla="*/ 27524571 w 111"/>
                <a:gd name="T23" fmla="*/ 33516003 h 95"/>
                <a:gd name="T24" fmla="*/ 25729975 w 111"/>
                <a:gd name="T25" fmla="*/ 31736450 h 95"/>
                <a:gd name="T26" fmla="*/ 24020196 w 111"/>
                <a:gd name="T27" fmla="*/ 31736450 h 95"/>
                <a:gd name="T28" fmla="*/ 21154423 w 111"/>
                <a:gd name="T29" fmla="*/ 29302074 h 95"/>
                <a:gd name="T30" fmla="*/ 21154423 w 111"/>
                <a:gd name="T31" fmla="*/ 27521908 h 95"/>
                <a:gd name="T32" fmla="*/ 12728343 w 111"/>
                <a:gd name="T33" fmla="*/ 27521908 h 95"/>
                <a:gd name="T34" fmla="*/ 11294262 w 111"/>
                <a:gd name="T35" fmla="*/ 25727426 h 95"/>
                <a:gd name="T36" fmla="*/ 7789894 w 111"/>
                <a:gd name="T37" fmla="*/ 24366438 h 95"/>
                <a:gd name="T38" fmla="*/ 6355206 w 111"/>
                <a:gd name="T39" fmla="*/ 19442695 h 95"/>
                <a:gd name="T40" fmla="*/ 7789894 w 111"/>
                <a:gd name="T41" fmla="*/ 19442695 h 95"/>
                <a:gd name="T42" fmla="*/ 6355206 w 111"/>
                <a:gd name="T43" fmla="*/ 15158613 h 95"/>
                <a:gd name="T44" fmla="*/ 4936043 w 111"/>
                <a:gd name="T45" fmla="*/ 12002679 h 95"/>
                <a:gd name="T46" fmla="*/ 0 w 111"/>
                <a:gd name="T47" fmla="*/ 10583594 h 95"/>
                <a:gd name="T48" fmla="*/ 1434077 w 111"/>
                <a:gd name="T49" fmla="*/ 9149572 h 95"/>
                <a:gd name="T50" fmla="*/ 5284750 w 111"/>
                <a:gd name="T51" fmla="*/ 9513210 h 95"/>
                <a:gd name="T52" fmla="*/ 7789894 w 111"/>
                <a:gd name="T53" fmla="*/ 8439798 h 95"/>
                <a:gd name="T54" fmla="*/ 12004213 w 111"/>
                <a:gd name="T55" fmla="*/ 5644944 h 95"/>
                <a:gd name="T56" fmla="*/ 14435703 w 111"/>
                <a:gd name="T57" fmla="*/ 5644944 h 95"/>
                <a:gd name="T58" fmla="*/ 14799230 w 111"/>
                <a:gd name="T59" fmla="*/ 3140558 h 95"/>
                <a:gd name="T60" fmla="*/ 16230309 w 111"/>
                <a:gd name="T61" fmla="*/ 2504386 h 95"/>
                <a:gd name="T62" fmla="*/ 15869676 w 111"/>
                <a:gd name="T63" fmla="*/ 0 h 95"/>
                <a:gd name="T64" fmla="*/ 21154423 w 111"/>
                <a:gd name="T65" fmla="*/ 0 h 95"/>
                <a:gd name="T66" fmla="*/ 24368921 w 111"/>
                <a:gd name="T67" fmla="*/ 3865246 h 9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"/>
                <a:gd name="T103" fmla="*/ 0 h 95"/>
                <a:gd name="T104" fmla="*/ 111 w 111"/>
                <a:gd name="T105" fmla="*/ 95 h 9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" h="95">
                  <a:moveTo>
                    <a:pt x="69" y="11"/>
                  </a:moveTo>
                  <a:lnTo>
                    <a:pt x="82" y="16"/>
                  </a:lnTo>
                  <a:cubicBezTo>
                    <a:pt x="82" y="24"/>
                    <a:pt x="82" y="31"/>
                    <a:pt x="82" y="38"/>
                  </a:cubicBezTo>
                  <a:lnTo>
                    <a:pt x="92" y="51"/>
                  </a:lnTo>
                  <a:lnTo>
                    <a:pt x="106" y="51"/>
                  </a:lnTo>
                  <a:lnTo>
                    <a:pt x="106" y="60"/>
                  </a:lnTo>
                  <a:lnTo>
                    <a:pt x="111" y="69"/>
                  </a:lnTo>
                  <a:lnTo>
                    <a:pt x="111" y="73"/>
                  </a:lnTo>
                  <a:lnTo>
                    <a:pt x="106" y="78"/>
                  </a:lnTo>
                  <a:lnTo>
                    <a:pt x="102" y="90"/>
                  </a:lnTo>
                  <a:lnTo>
                    <a:pt x="97" y="95"/>
                  </a:lnTo>
                  <a:lnTo>
                    <a:pt x="78" y="95"/>
                  </a:lnTo>
                  <a:lnTo>
                    <a:pt x="73" y="90"/>
                  </a:lnTo>
                  <a:lnTo>
                    <a:pt x="68" y="90"/>
                  </a:lnTo>
                  <a:lnTo>
                    <a:pt x="60" y="83"/>
                  </a:lnTo>
                  <a:lnTo>
                    <a:pt x="60" y="78"/>
                  </a:lnTo>
                  <a:cubicBezTo>
                    <a:pt x="52" y="78"/>
                    <a:pt x="44" y="78"/>
                    <a:pt x="36" y="78"/>
                  </a:cubicBezTo>
                  <a:lnTo>
                    <a:pt x="32" y="73"/>
                  </a:lnTo>
                  <a:lnTo>
                    <a:pt x="22" y="69"/>
                  </a:lnTo>
                  <a:lnTo>
                    <a:pt x="18" y="55"/>
                  </a:lnTo>
                  <a:lnTo>
                    <a:pt x="22" y="55"/>
                  </a:lnTo>
                  <a:lnTo>
                    <a:pt x="18" y="43"/>
                  </a:lnTo>
                  <a:lnTo>
                    <a:pt x="14" y="34"/>
                  </a:lnTo>
                  <a:lnTo>
                    <a:pt x="0" y="30"/>
                  </a:lnTo>
                  <a:lnTo>
                    <a:pt x="4" y="26"/>
                  </a:lnTo>
                  <a:lnTo>
                    <a:pt x="15" y="27"/>
                  </a:lnTo>
                  <a:lnTo>
                    <a:pt x="22" y="24"/>
                  </a:lnTo>
                  <a:lnTo>
                    <a:pt x="34" y="16"/>
                  </a:lnTo>
                  <a:lnTo>
                    <a:pt x="41" y="16"/>
                  </a:lnTo>
                  <a:lnTo>
                    <a:pt x="42" y="9"/>
                  </a:lnTo>
                  <a:lnTo>
                    <a:pt x="46" y="7"/>
                  </a:lnTo>
                  <a:lnTo>
                    <a:pt x="45" y="0"/>
                  </a:lnTo>
                  <a:lnTo>
                    <a:pt x="60" y="0"/>
                  </a:lnTo>
                  <a:lnTo>
                    <a:pt x="69" y="11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9" name="Freeform 139">
              <a:extLst>
                <a:ext uri="{FF2B5EF4-FFF2-40B4-BE49-F238E27FC236}">
                  <a16:creationId xmlns:a16="http://schemas.microsoft.com/office/drawing/2014/main" id="{34EAFE49-0436-2DF6-8D04-135D21AF9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4575" y="1156899"/>
              <a:ext cx="361414" cy="254085"/>
            </a:xfrm>
            <a:custGeom>
              <a:avLst/>
              <a:gdLst>
                <a:gd name="T0" fmla="*/ 5313 w 81"/>
                <a:gd name="T1" fmla="*/ 25930 h 61"/>
                <a:gd name="T2" fmla="*/ 0 w 81"/>
                <a:gd name="T3" fmla="*/ 20791 h 61"/>
                <a:gd name="T4" fmla="*/ 0 w 81"/>
                <a:gd name="T5" fmla="*/ 7608 h 61"/>
                <a:gd name="T6" fmla="*/ 4829 w 81"/>
                <a:gd name="T7" fmla="*/ 7608 h 61"/>
                <a:gd name="T8" fmla="*/ 4829 w 81"/>
                <a:gd name="T9" fmla="*/ 3389 h 61"/>
                <a:gd name="T10" fmla="*/ 23847 w 81"/>
                <a:gd name="T11" fmla="*/ 386 h 61"/>
                <a:gd name="T12" fmla="*/ 48187 w 81"/>
                <a:gd name="T13" fmla="*/ 3389 h 61"/>
                <a:gd name="T14" fmla="*/ 42873 w 81"/>
                <a:gd name="T15" fmla="*/ 17985 h 61"/>
                <a:gd name="T16" fmla="*/ 38044 w 81"/>
                <a:gd name="T17" fmla="*/ 17985 h 61"/>
                <a:gd name="T18" fmla="*/ 38044 w 81"/>
                <a:gd name="T19" fmla="*/ 22196 h 61"/>
                <a:gd name="T20" fmla="*/ 26731 w 81"/>
                <a:gd name="T21" fmla="*/ 22196 h 61"/>
                <a:gd name="T22" fmla="*/ 21467 w 81"/>
                <a:gd name="T23" fmla="*/ 25930 h 61"/>
                <a:gd name="T24" fmla="*/ 5313 w 81"/>
                <a:gd name="T25" fmla="*/ 25930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1"/>
                <a:gd name="T40" fmla="*/ 0 h 61"/>
                <a:gd name="T41" fmla="*/ 81 w 81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1" h="61">
                  <a:moveTo>
                    <a:pt x="9" y="61"/>
                  </a:moveTo>
                  <a:lnTo>
                    <a:pt x="0" y="49"/>
                  </a:lnTo>
                  <a:lnTo>
                    <a:pt x="0" y="18"/>
                  </a:lnTo>
                  <a:lnTo>
                    <a:pt x="8" y="18"/>
                  </a:lnTo>
                  <a:lnTo>
                    <a:pt x="8" y="8"/>
                  </a:lnTo>
                  <a:cubicBezTo>
                    <a:pt x="17" y="2"/>
                    <a:pt x="30" y="1"/>
                    <a:pt x="40" y="1"/>
                  </a:cubicBezTo>
                  <a:cubicBezTo>
                    <a:pt x="54" y="1"/>
                    <a:pt x="67" y="0"/>
                    <a:pt x="81" y="8"/>
                  </a:cubicBezTo>
                  <a:lnTo>
                    <a:pt x="72" y="42"/>
                  </a:lnTo>
                  <a:lnTo>
                    <a:pt x="64" y="42"/>
                  </a:lnTo>
                  <a:lnTo>
                    <a:pt x="64" y="52"/>
                  </a:lnTo>
                  <a:lnTo>
                    <a:pt x="45" y="52"/>
                  </a:lnTo>
                  <a:lnTo>
                    <a:pt x="36" y="61"/>
                  </a:lnTo>
                  <a:cubicBezTo>
                    <a:pt x="24" y="61"/>
                    <a:pt x="21" y="61"/>
                    <a:pt x="9" y="61"/>
                  </a:cubicBez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3" name="TextBox 3">
            <a:extLst>
              <a:ext uri="{FF2B5EF4-FFF2-40B4-BE49-F238E27FC236}">
                <a16:creationId xmlns:a16="http://schemas.microsoft.com/office/drawing/2014/main" id="{E9DA2E55-DF51-73B6-4572-1112BF31E29F}"/>
              </a:ext>
            </a:extLst>
          </p:cNvPr>
          <p:cNvSpPr txBox="1"/>
          <p:nvPr/>
        </p:nvSpPr>
        <p:spPr>
          <a:xfrm>
            <a:off x="14036952" y="4003607"/>
            <a:ext cx="9056130" cy="8094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r>
              <a:rPr lang="pt-BR" sz="40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or empresa de Saúde Suplementar </a:t>
            </a: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América Latina</a:t>
            </a:r>
          </a:p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endParaRPr lang="pt-BR" sz="40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taque entre </a:t>
            </a:r>
            <a:r>
              <a:rPr lang="pt-BR" sz="40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maiores empresas de Saúde verticalizadas </a:t>
            </a: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mundo</a:t>
            </a:r>
          </a:p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endParaRPr lang="pt-BR" sz="40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r>
              <a:rPr lang="pt-BR" sz="40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or Rede Própria de Atendimento em Saúde </a:t>
            </a: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Brasil</a:t>
            </a:r>
          </a:p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endParaRPr lang="pt-BR" sz="40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e as </a:t>
            </a:r>
            <a:r>
              <a:rPr lang="pt-BR" sz="40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maiores empresas listadas na Ibovespa</a:t>
            </a:r>
          </a:p>
          <a:p>
            <a:pPr marL="285750" indent="-285750" defTabSz="949902">
              <a:buClr>
                <a:srgbClr val="F15820"/>
              </a:buClr>
              <a:buSzPct val="75000"/>
              <a:buFont typeface="Wingdings" panose="05000000000000000000" pitchFamily="2" charset="2"/>
              <a:buChar char="§"/>
            </a:pPr>
            <a:endParaRPr lang="pt-BR" sz="40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94357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2B1F072-47B3-4E59-7B7B-89383304C05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308DF50-21CF-4FC1-A9B2-9AC59F89F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730251"/>
            <a:ext cx="20897054" cy="2651126"/>
          </a:xfrm>
        </p:spPr>
        <p:txBody>
          <a:bodyPr>
            <a:normAutofit/>
          </a:bodyPr>
          <a:lstStyle/>
          <a:p>
            <a:r>
              <a:rPr lang="pt-BR" sz="7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Hapvida</a:t>
            </a: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 e </a:t>
            </a:r>
            <a:r>
              <a:rPr lang="pt-BR" sz="7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NotreDame</a:t>
            </a: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 Intermédica:</a:t>
            </a:r>
            <a:b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</a:b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Maior rede de saúde integrada do país</a:t>
            </a:r>
          </a:p>
        </p:txBody>
      </p: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520F6952-1323-DE01-8348-BED72E3C2F54}"/>
              </a:ext>
            </a:extLst>
          </p:cNvPr>
          <p:cNvGrpSpPr/>
          <p:nvPr/>
        </p:nvGrpSpPr>
        <p:grpSpPr>
          <a:xfrm>
            <a:off x="14265705" y="3397458"/>
            <a:ext cx="9033006" cy="8419587"/>
            <a:chOff x="2925597" y="384875"/>
            <a:chExt cx="6340805" cy="60882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5" name="Freeform 113">
              <a:extLst>
                <a:ext uri="{FF2B5EF4-FFF2-40B4-BE49-F238E27FC236}">
                  <a16:creationId xmlns:a16="http://schemas.microsoft.com/office/drawing/2014/main" id="{D76D14CD-3F72-B553-FAA5-1B959E04E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0306" y="2671634"/>
              <a:ext cx="475861" cy="299038"/>
            </a:xfrm>
            <a:custGeom>
              <a:avLst/>
              <a:gdLst>
                <a:gd name="T0" fmla="*/ 16952679 w 48"/>
                <a:gd name="T1" fmla="*/ 1431750 h 31"/>
                <a:gd name="T2" fmla="*/ 12735956 w 48"/>
                <a:gd name="T3" fmla="*/ 1431750 h 31"/>
                <a:gd name="T4" fmla="*/ 10229606 w 48"/>
                <a:gd name="T5" fmla="*/ 1431750 h 31"/>
                <a:gd name="T6" fmla="*/ 5652130 w 48"/>
                <a:gd name="T7" fmla="*/ 3136515 h 31"/>
                <a:gd name="T8" fmla="*/ 3867884 w 48"/>
                <a:gd name="T9" fmla="*/ 1777747 h 31"/>
                <a:gd name="T10" fmla="*/ 3142882 w 48"/>
                <a:gd name="T11" fmla="*/ 0 h 31"/>
                <a:gd name="T12" fmla="*/ 0 w 48"/>
                <a:gd name="T13" fmla="*/ 1777747 h 31"/>
                <a:gd name="T14" fmla="*/ 1781243 w 48"/>
                <a:gd name="T15" fmla="*/ 3496712 h 31"/>
                <a:gd name="T16" fmla="*/ 7433253 w 48"/>
                <a:gd name="T17" fmla="*/ 6706183 h 31"/>
                <a:gd name="T18" fmla="*/ 9158667 w 48"/>
                <a:gd name="T19" fmla="*/ 10911952 h 31"/>
                <a:gd name="T20" fmla="*/ 16952679 w 48"/>
                <a:gd name="T21" fmla="*/ 1431750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31"/>
                <a:gd name="T35" fmla="*/ 48 w 48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31">
                  <a:moveTo>
                    <a:pt x="48" y="4"/>
                  </a:moveTo>
                  <a:lnTo>
                    <a:pt x="36" y="4"/>
                  </a:lnTo>
                  <a:lnTo>
                    <a:pt x="29" y="4"/>
                  </a:lnTo>
                  <a:lnTo>
                    <a:pt x="16" y="9"/>
                  </a:lnTo>
                  <a:lnTo>
                    <a:pt x="11" y="5"/>
                  </a:lnTo>
                  <a:lnTo>
                    <a:pt x="9" y="0"/>
                  </a:lnTo>
                  <a:lnTo>
                    <a:pt x="0" y="5"/>
                  </a:lnTo>
                  <a:lnTo>
                    <a:pt x="5" y="10"/>
                  </a:lnTo>
                  <a:lnTo>
                    <a:pt x="21" y="19"/>
                  </a:lnTo>
                  <a:lnTo>
                    <a:pt x="26" y="31"/>
                  </a:lnTo>
                  <a:lnTo>
                    <a:pt x="48" y="4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Freeform 114">
              <a:extLst>
                <a:ext uri="{FF2B5EF4-FFF2-40B4-BE49-F238E27FC236}">
                  <a16:creationId xmlns:a16="http://schemas.microsoft.com/office/drawing/2014/main" id="{C42E3AFB-4E4A-77AA-0E22-6AA5AF17B3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4364" y="2382368"/>
              <a:ext cx="1021999" cy="377218"/>
            </a:xfrm>
            <a:custGeom>
              <a:avLst/>
              <a:gdLst>
                <a:gd name="T0" fmla="*/ 12817372 w 103"/>
                <a:gd name="T1" fmla="*/ 3276467 h 39"/>
                <a:gd name="T2" fmla="*/ 11010393 w 103"/>
                <a:gd name="T3" fmla="*/ 1454448 h 39"/>
                <a:gd name="T4" fmla="*/ 4252823 w 103"/>
                <a:gd name="T5" fmla="*/ 0 h 39"/>
                <a:gd name="T6" fmla="*/ 4252823 w 103"/>
                <a:gd name="T7" fmla="*/ 3276467 h 39"/>
                <a:gd name="T8" fmla="*/ 2882250 w 103"/>
                <a:gd name="T9" fmla="*/ 7197653 h 39"/>
                <a:gd name="T10" fmla="*/ 1078887 w 103"/>
                <a:gd name="T11" fmla="*/ 6829349 h 39"/>
                <a:gd name="T12" fmla="*/ 0 w 103"/>
                <a:gd name="T13" fmla="*/ 8651981 h 39"/>
                <a:gd name="T14" fmla="*/ 1441419 w 103"/>
                <a:gd name="T15" fmla="*/ 8651981 h 39"/>
                <a:gd name="T16" fmla="*/ 1078887 w 103"/>
                <a:gd name="T17" fmla="*/ 10749942 h 39"/>
                <a:gd name="T18" fmla="*/ 2882250 w 103"/>
                <a:gd name="T19" fmla="*/ 12204271 h 39"/>
                <a:gd name="T20" fmla="*/ 4252823 w 103"/>
                <a:gd name="T21" fmla="*/ 12204271 h 39"/>
                <a:gd name="T22" fmla="*/ 6044949 w 103"/>
                <a:gd name="T23" fmla="*/ 10749942 h 39"/>
                <a:gd name="T24" fmla="*/ 7851310 w 103"/>
                <a:gd name="T25" fmla="*/ 10749942 h 39"/>
                <a:gd name="T26" fmla="*/ 11010393 w 103"/>
                <a:gd name="T27" fmla="*/ 7565243 h 39"/>
                <a:gd name="T28" fmla="*/ 14243353 w 103"/>
                <a:gd name="T29" fmla="*/ 10749942 h 39"/>
                <a:gd name="T30" fmla="*/ 15976324 w 103"/>
                <a:gd name="T31" fmla="*/ 10749942 h 39"/>
                <a:gd name="T32" fmla="*/ 17783422 w 103"/>
                <a:gd name="T33" fmla="*/ 12204271 h 39"/>
                <a:gd name="T34" fmla="*/ 21016367 w 103"/>
                <a:gd name="T35" fmla="*/ 10749942 h 39"/>
                <a:gd name="T36" fmla="*/ 21655730 w 103"/>
                <a:gd name="T37" fmla="*/ 12204271 h 39"/>
                <a:gd name="T38" fmla="*/ 23462096 w 103"/>
                <a:gd name="T39" fmla="*/ 14027002 h 39"/>
                <a:gd name="T40" fmla="*/ 28065629 w 103"/>
                <a:gd name="T41" fmla="*/ 12204271 h 39"/>
                <a:gd name="T42" fmla="*/ 34838055 w 103"/>
                <a:gd name="T43" fmla="*/ 12204271 h 39"/>
                <a:gd name="T44" fmla="*/ 36279463 w 103"/>
                <a:gd name="T45" fmla="*/ 7565243 h 39"/>
                <a:gd name="T46" fmla="*/ 36627145 w 103"/>
                <a:gd name="T47" fmla="*/ 2172269 h 39"/>
                <a:gd name="T48" fmla="*/ 33105538 w 103"/>
                <a:gd name="T49" fmla="*/ 3276467 h 39"/>
                <a:gd name="T50" fmla="*/ 26695164 w 103"/>
                <a:gd name="T51" fmla="*/ 5743225 h 39"/>
                <a:gd name="T52" fmla="*/ 24903643 w 103"/>
                <a:gd name="T53" fmla="*/ 7565243 h 39"/>
                <a:gd name="T54" fmla="*/ 23462096 w 103"/>
                <a:gd name="T55" fmla="*/ 7565243 h 39"/>
                <a:gd name="T56" fmla="*/ 23462096 w 103"/>
                <a:gd name="T57" fmla="*/ 5743225 h 39"/>
                <a:gd name="T58" fmla="*/ 24903643 w 103"/>
                <a:gd name="T59" fmla="*/ 1454448 h 39"/>
                <a:gd name="T60" fmla="*/ 23462096 w 103"/>
                <a:gd name="T61" fmla="*/ 1454448 h 39"/>
                <a:gd name="T62" fmla="*/ 20650821 w 103"/>
                <a:gd name="T63" fmla="*/ 3276467 h 39"/>
                <a:gd name="T64" fmla="*/ 12817372 w 103"/>
                <a:gd name="T65" fmla="*/ 3276467 h 3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3"/>
                <a:gd name="T100" fmla="*/ 0 h 39"/>
                <a:gd name="T101" fmla="*/ 103 w 103"/>
                <a:gd name="T102" fmla="*/ 39 h 3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3" h="39">
                  <a:moveTo>
                    <a:pt x="36" y="9"/>
                  </a:moveTo>
                  <a:lnTo>
                    <a:pt x="31" y="4"/>
                  </a:lnTo>
                  <a:lnTo>
                    <a:pt x="12" y="0"/>
                  </a:lnTo>
                  <a:lnTo>
                    <a:pt x="12" y="9"/>
                  </a:lnTo>
                  <a:lnTo>
                    <a:pt x="8" y="20"/>
                  </a:lnTo>
                  <a:lnTo>
                    <a:pt x="3" y="19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3" y="30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7" y="30"/>
                  </a:lnTo>
                  <a:lnTo>
                    <a:pt x="22" y="30"/>
                  </a:lnTo>
                  <a:lnTo>
                    <a:pt x="31" y="21"/>
                  </a:lnTo>
                  <a:lnTo>
                    <a:pt x="40" y="30"/>
                  </a:lnTo>
                  <a:lnTo>
                    <a:pt x="45" y="30"/>
                  </a:lnTo>
                  <a:lnTo>
                    <a:pt x="50" y="34"/>
                  </a:lnTo>
                  <a:lnTo>
                    <a:pt x="59" y="30"/>
                  </a:lnTo>
                  <a:lnTo>
                    <a:pt x="61" y="34"/>
                  </a:lnTo>
                  <a:lnTo>
                    <a:pt x="66" y="39"/>
                  </a:lnTo>
                  <a:lnTo>
                    <a:pt x="79" y="34"/>
                  </a:lnTo>
                  <a:lnTo>
                    <a:pt x="98" y="34"/>
                  </a:lnTo>
                  <a:lnTo>
                    <a:pt x="102" y="21"/>
                  </a:lnTo>
                  <a:lnTo>
                    <a:pt x="103" y="6"/>
                  </a:lnTo>
                  <a:lnTo>
                    <a:pt x="93" y="9"/>
                  </a:lnTo>
                  <a:lnTo>
                    <a:pt x="75" y="16"/>
                  </a:lnTo>
                  <a:lnTo>
                    <a:pt x="70" y="21"/>
                  </a:lnTo>
                  <a:lnTo>
                    <a:pt x="66" y="21"/>
                  </a:lnTo>
                  <a:lnTo>
                    <a:pt x="66" y="16"/>
                  </a:lnTo>
                  <a:lnTo>
                    <a:pt x="70" y="4"/>
                  </a:lnTo>
                  <a:lnTo>
                    <a:pt x="66" y="4"/>
                  </a:lnTo>
                  <a:lnTo>
                    <a:pt x="58" y="9"/>
                  </a:lnTo>
                  <a:lnTo>
                    <a:pt x="36" y="9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7" name="Freeform 115">
              <a:extLst>
                <a:ext uri="{FF2B5EF4-FFF2-40B4-BE49-F238E27FC236}">
                  <a16:creationId xmlns:a16="http://schemas.microsoft.com/office/drawing/2014/main" id="{D4F7B6CE-94ED-7740-167A-3B1512F5A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4324" y="1665069"/>
              <a:ext cx="674639" cy="805251"/>
            </a:xfrm>
            <a:custGeom>
              <a:avLst/>
              <a:gdLst>
                <a:gd name="T0" fmla="*/ 24158854 w 68"/>
                <a:gd name="T1" fmla="*/ 12551685 h 83"/>
                <a:gd name="T2" fmla="*/ 22005668 w 68"/>
                <a:gd name="T3" fmla="*/ 12551685 h 83"/>
                <a:gd name="T4" fmla="*/ 19922958 w 68"/>
                <a:gd name="T5" fmla="*/ 9574333 h 83"/>
                <a:gd name="T6" fmla="*/ 11717031 w 68"/>
                <a:gd name="T7" fmla="*/ 4083515 h 83"/>
                <a:gd name="T8" fmla="*/ 6753911 w 68"/>
                <a:gd name="T9" fmla="*/ 0 h 83"/>
                <a:gd name="T10" fmla="*/ 1440205 w 68"/>
                <a:gd name="T11" fmla="*/ 2229932 h 83"/>
                <a:gd name="T12" fmla="*/ 0 w 68"/>
                <a:gd name="T13" fmla="*/ 3710124 h 83"/>
                <a:gd name="T14" fmla="*/ 1805629 w 68"/>
                <a:gd name="T15" fmla="*/ 9574333 h 83"/>
                <a:gd name="T16" fmla="*/ 1805629 w 68"/>
                <a:gd name="T17" fmla="*/ 11069061 h 83"/>
                <a:gd name="T18" fmla="*/ 1805629 w 68"/>
                <a:gd name="T19" fmla="*/ 12551685 h 83"/>
                <a:gd name="T20" fmla="*/ 1805629 w 68"/>
                <a:gd name="T21" fmla="*/ 16186466 h 83"/>
                <a:gd name="T22" fmla="*/ 3157501 w 68"/>
                <a:gd name="T23" fmla="*/ 22126606 h 83"/>
                <a:gd name="T24" fmla="*/ 4963124 w 68"/>
                <a:gd name="T25" fmla="*/ 25474209 h 83"/>
                <a:gd name="T26" fmla="*/ 4963124 w 68"/>
                <a:gd name="T27" fmla="*/ 27255498 h 83"/>
                <a:gd name="T28" fmla="*/ 11717031 w 68"/>
                <a:gd name="T29" fmla="*/ 28738121 h 83"/>
                <a:gd name="T30" fmla="*/ 13519631 w 68"/>
                <a:gd name="T31" fmla="*/ 30591704 h 83"/>
                <a:gd name="T32" fmla="*/ 16680154 w 68"/>
                <a:gd name="T33" fmla="*/ 30591704 h 83"/>
                <a:gd name="T34" fmla="*/ 16680154 w 68"/>
                <a:gd name="T35" fmla="*/ 28738121 h 83"/>
                <a:gd name="T36" fmla="*/ 16680154 w 68"/>
                <a:gd name="T37" fmla="*/ 25474209 h 83"/>
                <a:gd name="T38" fmla="*/ 16680154 w 68"/>
                <a:gd name="T39" fmla="*/ 23979473 h 83"/>
                <a:gd name="T40" fmla="*/ 18120358 w 68"/>
                <a:gd name="T41" fmla="*/ 20269971 h 83"/>
                <a:gd name="T42" fmla="*/ 24158854 w 68"/>
                <a:gd name="T43" fmla="*/ 12551685 h 8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8"/>
                <a:gd name="T67" fmla="*/ 0 h 83"/>
                <a:gd name="T68" fmla="*/ 68 w 68"/>
                <a:gd name="T69" fmla="*/ 83 h 8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8" h="83">
                  <a:moveTo>
                    <a:pt x="68" y="34"/>
                  </a:moveTo>
                  <a:lnTo>
                    <a:pt x="62" y="34"/>
                  </a:lnTo>
                  <a:lnTo>
                    <a:pt x="56" y="26"/>
                  </a:lnTo>
                  <a:lnTo>
                    <a:pt x="33" y="11"/>
                  </a:lnTo>
                  <a:lnTo>
                    <a:pt x="19" y="0"/>
                  </a:lnTo>
                  <a:lnTo>
                    <a:pt x="4" y="6"/>
                  </a:lnTo>
                  <a:lnTo>
                    <a:pt x="0" y="10"/>
                  </a:lnTo>
                  <a:lnTo>
                    <a:pt x="5" y="26"/>
                  </a:lnTo>
                  <a:lnTo>
                    <a:pt x="5" y="30"/>
                  </a:lnTo>
                  <a:lnTo>
                    <a:pt x="5" y="34"/>
                  </a:lnTo>
                  <a:lnTo>
                    <a:pt x="5" y="44"/>
                  </a:lnTo>
                  <a:lnTo>
                    <a:pt x="9" y="60"/>
                  </a:lnTo>
                  <a:lnTo>
                    <a:pt x="14" y="69"/>
                  </a:lnTo>
                  <a:lnTo>
                    <a:pt x="14" y="74"/>
                  </a:lnTo>
                  <a:lnTo>
                    <a:pt x="33" y="78"/>
                  </a:lnTo>
                  <a:lnTo>
                    <a:pt x="38" y="83"/>
                  </a:lnTo>
                  <a:lnTo>
                    <a:pt x="47" y="83"/>
                  </a:lnTo>
                  <a:lnTo>
                    <a:pt x="47" y="78"/>
                  </a:lnTo>
                  <a:lnTo>
                    <a:pt x="47" y="69"/>
                  </a:lnTo>
                  <a:lnTo>
                    <a:pt x="47" y="65"/>
                  </a:lnTo>
                  <a:lnTo>
                    <a:pt x="51" y="55"/>
                  </a:lnTo>
                  <a:lnTo>
                    <a:pt x="68" y="34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8" name="Freeform 116">
              <a:extLst>
                <a:ext uri="{FF2B5EF4-FFF2-40B4-BE49-F238E27FC236}">
                  <a16:creationId xmlns:a16="http://schemas.microsoft.com/office/drawing/2014/main" id="{BC71584C-244D-AE07-EC53-4A71930CA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0149" y="1997332"/>
              <a:ext cx="566214" cy="385036"/>
            </a:xfrm>
            <a:custGeom>
              <a:avLst/>
              <a:gdLst>
                <a:gd name="T0" fmla="*/ 3269296 w 57"/>
                <a:gd name="T1" fmla="*/ 10402359 h 40"/>
                <a:gd name="T2" fmla="*/ 0 w 57"/>
                <a:gd name="T3" fmla="*/ 10402359 h 40"/>
                <a:gd name="T4" fmla="*/ 1817010 w 57"/>
                <a:gd name="T5" fmla="*/ 7235381 h 40"/>
                <a:gd name="T6" fmla="*/ 7184381 w 57"/>
                <a:gd name="T7" fmla="*/ 0 h 40"/>
                <a:gd name="T8" fmla="*/ 8989418 w 57"/>
                <a:gd name="T9" fmla="*/ 1756156 h 40"/>
                <a:gd name="T10" fmla="*/ 12185083 w 57"/>
                <a:gd name="T11" fmla="*/ 3097564 h 40"/>
                <a:gd name="T12" fmla="*/ 17200071 w 57"/>
                <a:gd name="T13" fmla="*/ 3097564 h 40"/>
                <a:gd name="T14" fmla="*/ 19005108 w 57"/>
                <a:gd name="T15" fmla="*/ 5551505 h 40"/>
                <a:gd name="T16" fmla="*/ 20457398 w 57"/>
                <a:gd name="T17" fmla="*/ 10402359 h 40"/>
                <a:gd name="T18" fmla="*/ 12185083 w 57"/>
                <a:gd name="T19" fmla="*/ 10402359 h 40"/>
                <a:gd name="T20" fmla="*/ 10732190 w 57"/>
                <a:gd name="T21" fmla="*/ 12085527 h 40"/>
                <a:gd name="T22" fmla="*/ 10732190 w 57"/>
                <a:gd name="T23" fmla="*/ 13841712 h 40"/>
                <a:gd name="T24" fmla="*/ 8989418 w 57"/>
                <a:gd name="T25" fmla="*/ 12085527 h 40"/>
                <a:gd name="T26" fmla="*/ 5732116 w 57"/>
                <a:gd name="T27" fmla="*/ 12085527 h 40"/>
                <a:gd name="T28" fmla="*/ 5732116 w 57"/>
                <a:gd name="T29" fmla="*/ 10402359 h 40"/>
                <a:gd name="T30" fmla="*/ 7184381 w 57"/>
                <a:gd name="T31" fmla="*/ 8990951 h 40"/>
                <a:gd name="T32" fmla="*/ 7184381 w 57"/>
                <a:gd name="T33" fmla="*/ 7235381 h 40"/>
                <a:gd name="T34" fmla="*/ 5000097 w 57"/>
                <a:gd name="T35" fmla="*/ 8990951 h 40"/>
                <a:gd name="T36" fmla="*/ 3269296 w 57"/>
                <a:gd name="T37" fmla="*/ 10402359 h 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7"/>
                <a:gd name="T58" fmla="*/ 0 h 40"/>
                <a:gd name="T59" fmla="*/ 57 w 57"/>
                <a:gd name="T60" fmla="*/ 40 h 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7" h="40">
                  <a:moveTo>
                    <a:pt x="9" y="30"/>
                  </a:moveTo>
                  <a:lnTo>
                    <a:pt x="0" y="30"/>
                  </a:lnTo>
                  <a:lnTo>
                    <a:pt x="5" y="21"/>
                  </a:lnTo>
                  <a:lnTo>
                    <a:pt x="20" y="0"/>
                  </a:lnTo>
                  <a:lnTo>
                    <a:pt x="25" y="5"/>
                  </a:lnTo>
                  <a:lnTo>
                    <a:pt x="34" y="9"/>
                  </a:lnTo>
                  <a:lnTo>
                    <a:pt x="48" y="9"/>
                  </a:lnTo>
                  <a:lnTo>
                    <a:pt x="53" y="16"/>
                  </a:lnTo>
                  <a:lnTo>
                    <a:pt x="57" y="30"/>
                  </a:lnTo>
                  <a:cubicBezTo>
                    <a:pt x="50" y="30"/>
                    <a:pt x="41" y="30"/>
                    <a:pt x="34" y="30"/>
                  </a:cubicBezTo>
                  <a:lnTo>
                    <a:pt x="30" y="35"/>
                  </a:lnTo>
                  <a:lnTo>
                    <a:pt x="30" y="40"/>
                  </a:lnTo>
                  <a:lnTo>
                    <a:pt x="25" y="35"/>
                  </a:lnTo>
                  <a:lnTo>
                    <a:pt x="16" y="35"/>
                  </a:lnTo>
                  <a:lnTo>
                    <a:pt x="16" y="30"/>
                  </a:lnTo>
                  <a:lnTo>
                    <a:pt x="20" y="26"/>
                  </a:lnTo>
                  <a:lnTo>
                    <a:pt x="20" y="21"/>
                  </a:lnTo>
                  <a:lnTo>
                    <a:pt x="14" y="26"/>
                  </a:lnTo>
                  <a:lnTo>
                    <a:pt x="9" y="30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Freeform 117">
              <a:extLst>
                <a:ext uri="{FF2B5EF4-FFF2-40B4-BE49-F238E27FC236}">
                  <a16:creationId xmlns:a16="http://schemas.microsoft.com/office/drawing/2014/main" id="{F12E7416-F087-3D7E-F0F5-6AFAC1273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4030" y="4737535"/>
              <a:ext cx="959755" cy="674300"/>
            </a:xfrm>
            <a:custGeom>
              <a:avLst/>
              <a:gdLst>
                <a:gd name="T0" fmla="*/ 32319226 w 97"/>
                <a:gd name="T1" fmla="*/ 18431208 h 70"/>
                <a:gd name="T2" fmla="*/ 31961899 w 97"/>
                <a:gd name="T3" fmla="*/ 20208440 h 70"/>
                <a:gd name="T4" fmla="*/ 29213311 w 97"/>
                <a:gd name="T5" fmla="*/ 20208440 h 70"/>
                <a:gd name="T6" fmla="*/ 25760595 w 97"/>
                <a:gd name="T7" fmla="*/ 22601620 h 70"/>
                <a:gd name="T8" fmla="*/ 25760595 w 97"/>
                <a:gd name="T9" fmla="*/ 20208440 h 70"/>
                <a:gd name="T10" fmla="*/ 24342443 w 97"/>
                <a:gd name="T11" fmla="*/ 20208440 h 70"/>
                <a:gd name="T12" fmla="*/ 22581689 w 97"/>
                <a:gd name="T13" fmla="*/ 20208440 h 70"/>
                <a:gd name="T14" fmla="*/ 20893334 w 97"/>
                <a:gd name="T15" fmla="*/ 20208440 h 70"/>
                <a:gd name="T16" fmla="*/ 19475168 w 97"/>
                <a:gd name="T17" fmla="*/ 22601620 h 70"/>
                <a:gd name="T18" fmla="*/ 17714295 w 97"/>
                <a:gd name="T19" fmla="*/ 22601620 h 70"/>
                <a:gd name="T20" fmla="*/ 17714295 w 97"/>
                <a:gd name="T21" fmla="*/ 24366994 h 70"/>
                <a:gd name="T22" fmla="*/ 16023063 w 97"/>
                <a:gd name="T23" fmla="*/ 24366994 h 70"/>
                <a:gd name="T24" fmla="*/ 12844038 w 97"/>
                <a:gd name="T25" fmla="*/ 22601620 h 70"/>
                <a:gd name="T26" fmla="*/ 9737535 w 97"/>
                <a:gd name="T27" fmla="*/ 22601620 h 70"/>
                <a:gd name="T28" fmla="*/ 6631137 w 97"/>
                <a:gd name="T29" fmla="*/ 22601620 h 70"/>
                <a:gd name="T30" fmla="*/ 4867277 w 97"/>
                <a:gd name="T31" fmla="*/ 22601620 h 70"/>
                <a:gd name="T32" fmla="*/ 3106522 w 97"/>
                <a:gd name="T33" fmla="*/ 18431208 h 70"/>
                <a:gd name="T34" fmla="*/ 0 w 97"/>
                <a:gd name="T35" fmla="*/ 18431208 h 70"/>
                <a:gd name="T36" fmla="*/ 0 w 97"/>
                <a:gd name="T37" fmla="*/ 13557454 h 70"/>
                <a:gd name="T38" fmla="*/ 1760873 w 97"/>
                <a:gd name="T39" fmla="*/ 12225705 h 70"/>
                <a:gd name="T40" fmla="*/ 1760873 w 97"/>
                <a:gd name="T41" fmla="*/ 9044174 h 70"/>
                <a:gd name="T42" fmla="*/ 3106522 w 97"/>
                <a:gd name="T43" fmla="*/ 9044174 h 70"/>
                <a:gd name="T44" fmla="*/ 3106522 w 97"/>
                <a:gd name="T45" fmla="*/ 4873755 h 70"/>
                <a:gd name="T46" fmla="*/ 4867277 w 97"/>
                <a:gd name="T47" fmla="*/ 3454736 h 70"/>
                <a:gd name="T48" fmla="*/ 7976785 w 97"/>
                <a:gd name="T49" fmla="*/ 0 h 70"/>
                <a:gd name="T50" fmla="*/ 9737535 w 97"/>
                <a:gd name="T51" fmla="*/ 0 h 70"/>
                <a:gd name="T52" fmla="*/ 12844038 w 97"/>
                <a:gd name="T53" fmla="*/ 1762491 h 70"/>
                <a:gd name="T54" fmla="*/ 14604911 w 97"/>
                <a:gd name="T55" fmla="*/ 1762491 h 70"/>
                <a:gd name="T56" fmla="*/ 17714295 w 97"/>
                <a:gd name="T57" fmla="*/ 1762491 h 70"/>
                <a:gd name="T58" fmla="*/ 20893334 w 97"/>
                <a:gd name="T59" fmla="*/ 3454736 h 70"/>
                <a:gd name="T60" fmla="*/ 24342443 w 97"/>
                <a:gd name="T61" fmla="*/ 3454736 h 70"/>
                <a:gd name="T62" fmla="*/ 25760595 w 97"/>
                <a:gd name="T63" fmla="*/ 4873755 h 70"/>
                <a:gd name="T64" fmla="*/ 27451945 w 97"/>
                <a:gd name="T65" fmla="*/ 9044174 h 70"/>
                <a:gd name="T66" fmla="*/ 28855392 w 97"/>
                <a:gd name="T67" fmla="*/ 10448473 h 70"/>
                <a:gd name="T68" fmla="*/ 27091642 w 97"/>
                <a:gd name="T69" fmla="*/ 12225705 h 70"/>
                <a:gd name="T70" fmla="*/ 28855392 w 97"/>
                <a:gd name="T71" fmla="*/ 11867487 h 70"/>
                <a:gd name="T72" fmla="*/ 31961899 w 97"/>
                <a:gd name="T73" fmla="*/ 13557454 h 70"/>
                <a:gd name="T74" fmla="*/ 31961899 w 97"/>
                <a:gd name="T75" fmla="*/ 15322838 h 70"/>
                <a:gd name="T76" fmla="*/ 33737377 w 97"/>
                <a:gd name="T77" fmla="*/ 13557454 h 70"/>
                <a:gd name="T78" fmla="*/ 33737377 w 97"/>
                <a:gd name="T79" fmla="*/ 17026911 h 70"/>
                <a:gd name="T80" fmla="*/ 30974065 w 97"/>
                <a:gd name="T81" fmla="*/ 17026911 h 70"/>
                <a:gd name="T82" fmla="*/ 32319226 w 97"/>
                <a:gd name="T83" fmla="*/ 18431208 h 7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7"/>
                <a:gd name="T127" fmla="*/ 0 h 70"/>
                <a:gd name="T128" fmla="*/ 97 w 97"/>
                <a:gd name="T129" fmla="*/ 70 h 7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7" h="70">
                  <a:moveTo>
                    <a:pt x="93" y="53"/>
                  </a:moveTo>
                  <a:lnTo>
                    <a:pt x="92" y="58"/>
                  </a:lnTo>
                  <a:lnTo>
                    <a:pt x="84" y="58"/>
                  </a:lnTo>
                  <a:lnTo>
                    <a:pt x="74" y="65"/>
                  </a:lnTo>
                  <a:lnTo>
                    <a:pt x="74" y="58"/>
                  </a:lnTo>
                  <a:lnTo>
                    <a:pt x="70" y="58"/>
                  </a:lnTo>
                  <a:lnTo>
                    <a:pt x="65" y="58"/>
                  </a:lnTo>
                  <a:lnTo>
                    <a:pt x="60" y="58"/>
                  </a:lnTo>
                  <a:lnTo>
                    <a:pt x="56" y="65"/>
                  </a:lnTo>
                  <a:lnTo>
                    <a:pt x="51" y="65"/>
                  </a:lnTo>
                  <a:lnTo>
                    <a:pt x="51" y="70"/>
                  </a:lnTo>
                  <a:lnTo>
                    <a:pt x="46" y="70"/>
                  </a:lnTo>
                  <a:lnTo>
                    <a:pt x="37" y="65"/>
                  </a:lnTo>
                  <a:lnTo>
                    <a:pt x="28" y="65"/>
                  </a:lnTo>
                  <a:lnTo>
                    <a:pt x="19" y="65"/>
                  </a:lnTo>
                  <a:lnTo>
                    <a:pt x="14" y="65"/>
                  </a:lnTo>
                  <a:lnTo>
                    <a:pt x="9" y="53"/>
                  </a:lnTo>
                  <a:lnTo>
                    <a:pt x="0" y="53"/>
                  </a:lnTo>
                  <a:lnTo>
                    <a:pt x="0" y="39"/>
                  </a:lnTo>
                  <a:lnTo>
                    <a:pt x="5" y="35"/>
                  </a:lnTo>
                  <a:lnTo>
                    <a:pt x="5" y="26"/>
                  </a:lnTo>
                  <a:lnTo>
                    <a:pt x="9" y="26"/>
                  </a:lnTo>
                  <a:lnTo>
                    <a:pt x="9" y="14"/>
                  </a:lnTo>
                  <a:lnTo>
                    <a:pt x="14" y="10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37" y="5"/>
                  </a:lnTo>
                  <a:lnTo>
                    <a:pt x="42" y="5"/>
                  </a:lnTo>
                  <a:lnTo>
                    <a:pt x="51" y="5"/>
                  </a:lnTo>
                  <a:lnTo>
                    <a:pt x="60" y="10"/>
                  </a:lnTo>
                  <a:lnTo>
                    <a:pt x="70" y="10"/>
                  </a:lnTo>
                  <a:lnTo>
                    <a:pt x="74" y="14"/>
                  </a:lnTo>
                  <a:lnTo>
                    <a:pt x="79" y="26"/>
                  </a:lnTo>
                  <a:lnTo>
                    <a:pt x="83" y="30"/>
                  </a:lnTo>
                  <a:lnTo>
                    <a:pt x="78" y="35"/>
                  </a:lnTo>
                  <a:lnTo>
                    <a:pt x="83" y="34"/>
                  </a:lnTo>
                  <a:lnTo>
                    <a:pt x="92" y="39"/>
                  </a:lnTo>
                  <a:lnTo>
                    <a:pt x="92" y="44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89" y="49"/>
                  </a:lnTo>
                  <a:lnTo>
                    <a:pt x="93" y="53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Freeform 118">
              <a:extLst>
                <a:ext uri="{FF2B5EF4-FFF2-40B4-BE49-F238E27FC236}">
                  <a16:creationId xmlns:a16="http://schemas.microsoft.com/office/drawing/2014/main" id="{4A552618-4B2B-E020-EA87-E36C9B0BE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328" y="5298474"/>
              <a:ext cx="833260" cy="529668"/>
            </a:xfrm>
            <a:custGeom>
              <a:avLst/>
              <a:gdLst>
                <a:gd name="T0" fmla="*/ 0 w 84"/>
                <a:gd name="T1" fmla="*/ 6984641 h 55"/>
                <a:gd name="T2" fmla="*/ 2151301 w 84"/>
                <a:gd name="T3" fmla="*/ 5221718 h 55"/>
                <a:gd name="T4" fmla="*/ 2151301 w 84"/>
                <a:gd name="T5" fmla="*/ 2404810 h 55"/>
                <a:gd name="T6" fmla="*/ 10628448 w 84"/>
                <a:gd name="T7" fmla="*/ 2404810 h 55"/>
                <a:gd name="T8" fmla="*/ 13510137 w 84"/>
                <a:gd name="T9" fmla="*/ 4164846 h 55"/>
                <a:gd name="T10" fmla="*/ 15225994 w 84"/>
                <a:gd name="T11" fmla="*/ 3807644 h 55"/>
                <a:gd name="T12" fmla="*/ 15225994 w 84"/>
                <a:gd name="T13" fmla="*/ 2404810 h 55"/>
                <a:gd name="T14" fmla="*/ 17027597 w 84"/>
                <a:gd name="T15" fmla="*/ 2404810 h 55"/>
                <a:gd name="T16" fmla="*/ 18466955 w 84"/>
                <a:gd name="T17" fmla="*/ 0 h 55"/>
                <a:gd name="T18" fmla="*/ 23426040 w 84"/>
                <a:gd name="T19" fmla="*/ 0 h 55"/>
                <a:gd name="T20" fmla="*/ 23426040 w 84"/>
                <a:gd name="T21" fmla="*/ 2404810 h 55"/>
                <a:gd name="T22" fmla="*/ 26946503 w 84"/>
                <a:gd name="T23" fmla="*/ 0 h 55"/>
                <a:gd name="T24" fmla="*/ 29810338 w 84"/>
                <a:gd name="T25" fmla="*/ 0 h 55"/>
                <a:gd name="T26" fmla="*/ 28020582 w 84"/>
                <a:gd name="T27" fmla="*/ 2404810 h 55"/>
                <a:gd name="T28" fmla="*/ 28020582 w 84"/>
                <a:gd name="T29" fmla="*/ 13536698 h 55"/>
                <a:gd name="T30" fmla="*/ 26655154 w 84"/>
                <a:gd name="T31" fmla="*/ 13536698 h 55"/>
                <a:gd name="T32" fmla="*/ 26655154 w 84"/>
                <a:gd name="T33" fmla="*/ 15999289 h 55"/>
                <a:gd name="T34" fmla="*/ 23064496 w 84"/>
                <a:gd name="T35" fmla="*/ 19104366 h 55"/>
                <a:gd name="T36" fmla="*/ 19908704 w 84"/>
                <a:gd name="T37" fmla="*/ 19104366 h 55"/>
                <a:gd name="T38" fmla="*/ 23064496 w 84"/>
                <a:gd name="T39" fmla="*/ 15999289 h 55"/>
                <a:gd name="T40" fmla="*/ 21259899 w 84"/>
                <a:gd name="T41" fmla="*/ 13536698 h 55"/>
                <a:gd name="T42" fmla="*/ 18104690 w 84"/>
                <a:gd name="T43" fmla="*/ 13536698 h 55"/>
                <a:gd name="T44" fmla="*/ 11705540 w 84"/>
                <a:gd name="T45" fmla="*/ 6984641 h 55"/>
                <a:gd name="T46" fmla="*/ 0 w 84"/>
                <a:gd name="T47" fmla="*/ 6984641 h 5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4"/>
                <a:gd name="T73" fmla="*/ 0 h 55"/>
                <a:gd name="T74" fmla="*/ 84 w 84"/>
                <a:gd name="T75" fmla="*/ 55 h 5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4" h="55">
                  <a:moveTo>
                    <a:pt x="0" y="20"/>
                  </a:moveTo>
                  <a:lnTo>
                    <a:pt x="6" y="15"/>
                  </a:lnTo>
                  <a:lnTo>
                    <a:pt x="6" y="7"/>
                  </a:lnTo>
                  <a:lnTo>
                    <a:pt x="30" y="7"/>
                  </a:lnTo>
                  <a:lnTo>
                    <a:pt x="38" y="12"/>
                  </a:lnTo>
                  <a:lnTo>
                    <a:pt x="43" y="11"/>
                  </a:lnTo>
                  <a:lnTo>
                    <a:pt x="43" y="7"/>
                  </a:lnTo>
                  <a:lnTo>
                    <a:pt x="48" y="7"/>
                  </a:lnTo>
                  <a:lnTo>
                    <a:pt x="52" y="0"/>
                  </a:lnTo>
                  <a:lnTo>
                    <a:pt x="66" y="0"/>
                  </a:lnTo>
                  <a:lnTo>
                    <a:pt x="66" y="7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79" y="7"/>
                  </a:lnTo>
                  <a:cubicBezTo>
                    <a:pt x="79" y="17"/>
                    <a:pt x="79" y="28"/>
                    <a:pt x="79" y="39"/>
                  </a:cubicBezTo>
                  <a:lnTo>
                    <a:pt x="75" y="39"/>
                  </a:lnTo>
                  <a:lnTo>
                    <a:pt x="75" y="46"/>
                  </a:lnTo>
                  <a:lnTo>
                    <a:pt x="65" y="55"/>
                  </a:lnTo>
                  <a:lnTo>
                    <a:pt x="56" y="55"/>
                  </a:lnTo>
                  <a:lnTo>
                    <a:pt x="65" y="46"/>
                  </a:lnTo>
                  <a:lnTo>
                    <a:pt x="60" y="39"/>
                  </a:lnTo>
                  <a:lnTo>
                    <a:pt x="51" y="39"/>
                  </a:lnTo>
                  <a:lnTo>
                    <a:pt x="33" y="20"/>
                  </a:lnTo>
                  <a:lnTo>
                    <a:pt x="0" y="20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1" name="Freeform 119">
              <a:extLst>
                <a:ext uri="{FF2B5EF4-FFF2-40B4-BE49-F238E27FC236}">
                  <a16:creationId xmlns:a16="http://schemas.microsoft.com/office/drawing/2014/main" id="{A451876B-A838-CF7F-354A-CF0F9C2C2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2383" y="5490015"/>
              <a:ext cx="1142470" cy="983110"/>
            </a:xfrm>
            <a:custGeom>
              <a:avLst/>
              <a:gdLst>
                <a:gd name="T0" fmla="*/ 32307406 w 115"/>
                <a:gd name="T1" fmla="*/ 21700350 h 102"/>
                <a:gd name="T2" fmla="*/ 29843072 w 115"/>
                <a:gd name="T3" fmla="*/ 24462056 h 102"/>
                <a:gd name="T4" fmla="*/ 26204640 w 115"/>
                <a:gd name="T5" fmla="*/ 27655632 h 102"/>
                <a:gd name="T6" fmla="*/ 26936958 w 115"/>
                <a:gd name="T7" fmla="*/ 26246877 h 102"/>
                <a:gd name="T8" fmla="*/ 28389797 w 115"/>
                <a:gd name="T9" fmla="*/ 25182431 h 102"/>
                <a:gd name="T10" fmla="*/ 30560487 w 115"/>
                <a:gd name="T11" fmla="*/ 22406464 h 102"/>
                <a:gd name="T12" fmla="*/ 33392226 w 115"/>
                <a:gd name="T13" fmla="*/ 19212903 h 102"/>
                <a:gd name="T14" fmla="*/ 32307406 w 115"/>
                <a:gd name="T15" fmla="*/ 18148456 h 102"/>
                <a:gd name="T16" fmla="*/ 34113203 w 115"/>
                <a:gd name="T17" fmla="*/ 17515643 h 102"/>
                <a:gd name="T18" fmla="*/ 36298321 w 115"/>
                <a:gd name="T19" fmla="*/ 17156699 h 102"/>
                <a:gd name="T20" fmla="*/ 34477660 w 115"/>
                <a:gd name="T21" fmla="*/ 18509808 h 102"/>
                <a:gd name="T22" fmla="*/ 34113203 w 115"/>
                <a:gd name="T23" fmla="*/ 20277458 h 102"/>
                <a:gd name="T24" fmla="*/ 32307406 w 115"/>
                <a:gd name="T25" fmla="*/ 21700350 h 102"/>
                <a:gd name="T26" fmla="*/ 36298321 w 115"/>
                <a:gd name="T27" fmla="*/ 20277458 h 102"/>
                <a:gd name="T28" fmla="*/ 38045359 w 115"/>
                <a:gd name="T29" fmla="*/ 15389631 h 102"/>
                <a:gd name="T30" fmla="*/ 41300889 w 115"/>
                <a:gd name="T31" fmla="*/ 12266001 h 102"/>
                <a:gd name="T32" fmla="*/ 39498159 w 115"/>
                <a:gd name="T33" fmla="*/ 12266001 h 102"/>
                <a:gd name="T34" fmla="*/ 38045359 w 115"/>
                <a:gd name="T35" fmla="*/ 12266001 h 102"/>
                <a:gd name="T36" fmla="*/ 39498159 w 115"/>
                <a:gd name="T37" fmla="*/ 10498924 h 102"/>
                <a:gd name="T38" fmla="*/ 41300889 w 115"/>
                <a:gd name="T39" fmla="*/ 9075446 h 102"/>
                <a:gd name="T40" fmla="*/ 39498159 w 115"/>
                <a:gd name="T41" fmla="*/ 6672641 h 102"/>
                <a:gd name="T42" fmla="*/ 36298321 w 115"/>
                <a:gd name="T43" fmla="*/ 6672641 h 102"/>
                <a:gd name="T44" fmla="*/ 29843072 w 115"/>
                <a:gd name="T45" fmla="*/ 0 h 102"/>
                <a:gd name="T46" fmla="*/ 17928596 w 115"/>
                <a:gd name="T47" fmla="*/ 0 h 102"/>
                <a:gd name="T48" fmla="*/ 16549559 w 115"/>
                <a:gd name="T49" fmla="*/ 1770067 h 102"/>
                <a:gd name="T50" fmla="*/ 13278482 w 115"/>
                <a:gd name="T51" fmla="*/ 1770067 h 102"/>
                <a:gd name="T52" fmla="*/ 8276041 w 115"/>
                <a:gd name="T53" fmla="*/ 6672641 h 102"/>
                <a:gd name="T54" fmla="*/ 5002569 w 115"/>
                <a:gd name="T55" fmla="*/ 12266001 h 102"/>
                <a:gd name="T56" fmla="*/ 3270439 w 115"/>
                <a:gd name="T57" fmla="*/ 12266001 h 102"/>
                <a:gd name="T58" fmla="*/ 0 w 115"/>
                <a:gd name="T59" fmla="*/ 15389631 h 102"/>
                <a:gd name="T60" fmla="*/ 0 w 115"/>
                <a:gd name="T61" fmla="*/ 17156699 h 102"/>
                <a:gd name="T62" fmla="*/ 1820676 w 115"/>
                <a:gd name="T63" fmla="*/ 18509808 h 102"/>
                <a:gd name="T64" fmla="*/ 1820676 w 115"/>
                <a:gd name="T65" fmla="*/ 17156699 h 102"/>
                <a:gd name="T66" fmla="*/ 5002569 w 115"/>
                <a:gd name="T67" fmla="*/ 17156699 h 102"/>
                <a:gd name="T68" fmla="*/ 5002569 w 115"/>
                <a:gd name="T69" fmla="*/ 18509808 h 102"/>
                <a:gd name="T70" fmla="*/ 6823246 w 115"/>
                <a:gd name="T71" fmla="*/ 20277458 h 102"/>
                <a:gd name="T72" fmla="*/ 6823246 w 115"/>
                <a:gd name="T73" fmla="*/ 21700350 h 102"/>
                <a:gd name="T74" fmla="*/ 8276041 w 115"/>
                <a:gd name="T75" fmla="*/ 21700350 h 102"/>
                <a:gd name="T76" fmla="*/ 10093679 w 115"/>
                <a:gd name="T77" fmla="*/ 20277458 h 102"/>
                <a:gd name="T78" fmla="*/ 13278482 w 115"/>
                <a:gd name="T79" fmla="*/ 24117866 h 102"/>
                <a:gd name="T80" fmla="*/ 14731896 w 115"/>
                <a:gd name="T81" fmla="*/ 24117866 h 102"/>
                <a:gd name="T82" fmla="*/ 16549559 w 115"/>
                <a:gd name="T83" fmla="*/ 25885566 h 102"/>
                <a:gd name="T84" fmla="*/ 17928596 w 115"/>
                <a:gd name="T85" fmla="*/ 27655632 h 102"/>
                <a:gd name="T86" fmla="*/ 21567004 w 115"/>
                <a:gd name="T87" fmla="*/ 30776381 h 102"/>
                <a:gd name="T88" fmla="*/ 21567004 w 115"/>
                <a:gd name="T89" fmla="*/ 32546329 h 102"/>
                <a:gd name="T90" fmla="*/ 19749366 w 115"/>
                <a:gd name="T91" fmla="*/ 32546329 h 102"/>
                <a:gd name="T92" fmla="*/ 19749366 w 115"/>
                <a:gd name="T93" fmla="*/ 33896440 h 102"/>
                <a:gd name="T94" fmla="*/ 21567004 w 115"/>
                <a:gd name="T95" fmla="*/ 35667098 h 102"/>
                <a:gd name="T96" fmla="*/ 24751840 w 115"/>
                <a:gd name="T97" fmla="*/ 32546329 h 102"/>
                <a:gd name="T98" fmla="*/ 26572026 w 115"/>
                <a:gd name="T99" fmla="*/ 29367646 h 102"/>
                <a:gd name="T100" fmla="*/ 28022411 w 115"/>
                <a:gd name="T101" fmla="*/ 27655632 h 102"/>
                <a:gd name="T102" fmla="*/ 31222110 w 115"/>
                <a:gd name="T103" fmla="*/ 24823980 h 102"/>
                <a:gd name="T104" fmla="*/ 36298321 w 115"/>
                <a:gd name="T105" fmla="*/ 20277458 h 102"/>
                <a:gd name="T106" fmla="*/ 36298321 w 115"/>
                <a:gd name="T107" fmla="*/ 20277458 h 10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5"/>
                <a:gd name="T163" fmla="*/ 0 h 102"/>
                <a:gd name="T164" fmla="*/ 115 w 115"/>
                <a:gd name="T165" fmla="*/ 102 h 10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5" h="102">
                  <a:moveTo>
                    <a:pt x="90" y="62"/>
                  </a:moveTo>
                  <a:lnTo>
                    <a:pt x="83" y="70"/>
                  </a:lnTo>
                  <a:lnTo>
                    <a:pt x="73" y="79"/>
                  </a:lnTo>
                  <a:lnTo>
                    <a:pt x="75" y="75"/>
                  </a:lnTo>
                  <a:lnTo>
                    <a:pt x="79" y="72"/>
                  </a:lnTo>
                  <a:lnTo>
                    <a:pt x="85" y="64"/>
                  </a:lnTo>
                  <a:lnTo>
                    <a:pt x="93" y="55"/>
                  </a:lnTo>
                  <a:lnTo>
                    <a:pt x="90" y="52"/>
                  </a:lnTo>
                  <a:lnTo>
                    <a:pt x="95" y="50"/>
                  </a:lnTo>
                  <a:lnTo>
                    <a:pt x="101" y="49"/>
                  </a:lnTo>
                  <a:lnTo>
                    <a:pt x="96" y="53"/>
                  </a:lnTo>
                  <a:lnTo>
                    <a:pt x="95" y="58"/>
                  </a:lnTo>
                  <a:lnTo>
                    <a:pt x="90" y="62"/>
                  </a:lnTo>
                  <a:moveTo>
                    <a:pt x="101" y="58"/>
                  </a:moveTo>
                  <a:lnTo>
                    <a:pt x="106" y="44"/>
                  </a:lnTo>
                  <a:lnTo>
                    <a:pt x="115" y="35"/>
                  </a:lnTo>
                  <a:lnTo>
                    <a:pt x="110" y="35"/>
                  </a:lnTo>
                  <a:lnTo>
                    <a:pt x="106" y="35"/>
                  </a:lnTo>
                  <a:lnTo>
                    <a:pt x="110" y="30"/>
                  </a:lnTo>
                  <a:lnTo>
                    <a:pt x="115" y="26"/>
                  </a:lnTo>
                  <a:lnTo>
                    <a:pt x="110" y="19"/>
                  </a:lnTo>
                  <a:lnTo>
                    <a:pt x="101" y="19"/>
                  </a:lnTo>
                  <a:lnTo>
                    <a:pt x="83" y="0"/>
                  </a:lnTo>
                  <a:lnTo>
                    <a:pt x="50" y="0"/>
                  </a:lnTo>
                  <a:lnTo>
                    <a:pt x="46" y="5"/>
                  </a:lnTo>
                  <a:lnTo>
                    <a:pt x="37" y="5"/>
                  </a:lnTo>
                  <a:lnTo>
                    <a:pt x="23" y="19"/>
                  </a:lnTo>
                  <a:lnTo>
                    <a:pt x="14" y="35"/>
                  </a:lnTo>
                  <a:lnTo>
                    <a:pt x="9" y="35"/>
                  </a:lnTo>
                  <a:lnTo>
                    <a:pt x="0" y="44"/>
                  </a:lnTo>
                  <a:lnTo>
                    <a:pt x="0" y="49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14" y="49"/>
                  </a:lnTo>
                  <a:lnTo>
                    <a:pt x="14" y="53"/>
                  </a:lnTo>
                  <a:lnTo>
                    <a:pt x="19" y="58"/>
                  </a:lnTo>
                  <a:lnTo>
                    <a:pt x="19" y="62"/>
                  </a:lnTo>
                  <a:lnTo>
                    <a:pt x="23" y="62"/>
                  </a:lnTo>
                  <a:lnTo>
                    <a:pt x="28" y="58"/>
                  </a:lnTo>
                  <a:lnTo>
                    <a:pt x="37" y="69"/>
                  </a:lnTo>
                  <a:lnTo>
                    <a:pt x="41" y="69"/>
                  </a:lnTo>
                  <a:lnTo>
                    <a:pt x="46" y="74"/>
                  </a:lnTo>
                  <a:lnTo>
                    <a:pt x="50" y="79"/>
                  </a:lnTo>
                  <a:lnTo>
                    <a:pt x="60" y="88"/>
                  </a:lnTo>
                  <a:lnTo>
                    <a:pt x="60" y="93"/>
                  </a:lnTo>
                  <a:lnTo>
                    <a:pt x="55" y="93"/>
                  </a:lnTo>
                  <a:lnTo>
                    <a:pt x="55" y="97"/>
                  </a:lnTo>
                  <a:lnTo>
                    <a:pt x="60" y="102"/>
                  </a:lnTo>
                  <a:lnTo>
                    <a:pt x="69" y="93"/>
                  </a:lnTo>
                  <a:lnTo>
                    <a:pt x="74" y="84"/>
                  </a:lnTo>
                  <a:lnTo>
                    <a:pt x="78" y="79"/>
                  </a:lnTo>
                  <a:lnTo>
                    <a:pt x="87" y="71"/>
                  </a:lnTo>
                  <a:lnTo>
                    <a:pt x="101" y="58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Freeform 120">
              <a:extLst>
                <a:ext uri="{FF2B5EF4-FFF2-40B4-BE49-F238E27FC236}">
                  <a16:creationId xmlns:a16="http://schemas.microsoft.com/office/drawing/2014/main" id="{E0145109-38B3-8D00-A585-ED5D8F31F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0880" y="3183712"/>
              <a:ext cx="1130422" cy="1088653"/>
            </a:xfrm>
            <a:custGeom>
              <a:avLst/>
              <a:gdLst>
                <a:gd name="T0" fmla="*/ 38910865 w 114"/>
                <a:gd name="T1" fmla="*/ 1763433 h 113"/>
                <a:gd name="T2" fmla="*/ 37186367 w 114"/>
                <a:gd name="T3" fmla="*/ 1763433 h 113"/>
                <a:gd name="T4" fmla="*/ 33963460 w 114"/>
                <a:gd name="T5" fmla="*/ 1763433 h 113"/>
                <a:gd name="T6" fmla="*/ 31528199 w 114"/>
                <a:gd name="T7" fmla="*/ 1763433 h 113"/>
                <a:gd name="T8" fmla="*/ 29741771 w 114"/>
                <a:gd name="T9" fmla="*/ 0 h 113"/>
                <a:gd name="T10" fmla="*/ 26157753 w 114"/>
                <a:gd name="T11" fmla="*/ 0 h 113"/>
                <a:gd name="T12" fmla="*/ 24433235 w 114"/>
                <a:gd name="T13" fmla="*/ 1763433 h 113"/>
                <a:gd name="T14" fmla="*/ 21574954 w 114"/>
                <a:gd name="T15" fmla="*/ 1763433 h 113"/>
                <a:gd name="T16" fmla="*/ 20209161 w 114"/>
                <a:gd name="T17" fmla="*/ 0 h 113"/>
                <a:gd name="T18" fmla="*/ 16263421 w 114"/>
                <a:gd name="T19" fmla="*/ 0 h 113"/>
                <a:gd name="T20" fmla="*/ 16263421 w 114"/>
                <a:gd name="T21" fmla="*/ 1419823 h 113"/>
                <a:gd name="T22" fmla="*/ 14480015 w 114"/>
                <a:gd name="T23" fmla="*/ 1763433 h 113"/>
                <a:gd name="T24" fmla="*/ 13114237 w 114"/>
                <a:gd name="T25" fmla="*/ 5578188 h 113"/>
                <a:gd name="T26" fmla="*/ 11316006 w 114"/>
                <a:gd name="T27" fmla="*/ 10469739 h 113"/>
                <a:gd name="T28" fmla="*/ 9533215 w 114"/>
                <a:gd name="T29" fmla="*/ 13569152 h 113"/>
                <a:gd name="T30" fmla="*/ 8166829 w 114"/>
                <a:gd name="T31" fmla="*/ 13569152 h 113"/>
                <a:gd name="T32" fmla="*/ 6733229 w 114"/>
                <a:gd name="T33" fmla="*/ 18460705 h 113"/>
                <a:gd name="T34" fmla="*/ 4947407 w 114"/>
                <a:gd name="T35" fmla="*/ 18460705 h 113"/>
                <a:gd name="T36" fmla="*/ 3510903 w 114"/>
                <a:gd name="T37" fmla="*/ 22619074 h 113"/>
                <a:gd name="T38" fmla="*/ 361115 w 114"/>
                <a:gd name="T39" fmla="*/ 24038881 h 113"/>
                <a:gd name="T40" fmla="*/ 361115 w 114"/>
                <a:gd name="T41" fmla="*/ 27496026 h 113"/>
                <a:gd name="T42" fmla="*/ 0 w 114"/>
                <a:gd name="T43" fmla="*/ 30336134 h 113"/>
                <a:gd name="T44" fmla="*/ 0 w 114"/>
                <a:gd name="T45" fmla="*/ 32029867 h 113"/>
                <a:gd name="T46" fmla="*/ 1783401 w 114"/>
                <a:gd name="T47" fmla="*/ 32029867 h 113"/>
                <a:gd name="T48" fmla="*/ 0 w 114"/>
                <a:gd name="T49" fmla="*/ 34150903 h 113"/>
                <a:gd name="T50" fmla="*/ 1783401 w 114"/>
                <a:gd name="T51" fmla="*/ 34497505 h 113"/>
                <a:gd name="T52" fmla="*/ 7094927 w 114"/>
                <a:gd name="T53" fmla="*/ 36275054 h 113"/>
                <a:gd name="T54" fmla="*/ 9894330 w 114"/>
                <a:gd name="T55" fmla="*/ 37608028 h 113"/>
                <a:gd name="T56" fmla="*/ 11680612 w 114"/>
                <a:gd name="T57" fmla="*/ 39389048 h 113"/>
                <a:gd name="T58" fmla="*/ 13464018 w 114"/>
                <a:gd name="T59" fmla="*/ 37608028 h 113"/>
                <a:gd name="T60" fmla="*/ 14826932 w 114"/>
                <a:gd name="T61" fmla="*/ 34497505 h 113"/>
                <a:gd name="T62" fmla="*/ 21574954 w 114"/>
                <a:gd name="T63" fmla="*/ 34497505 h 113"/>
                <a:gd name="T64" fmla="*/ 22996638 w 114"/>
                <a:gd name="T65" fmla="*/ 32387589 h 113"/>
                <a:gd name="T66" fmla="*/ 26507544 w 114"/>
                <a:gd name="T67" fmla="*/ 34497505 h 113"/>
                <a:gd name="T68" fmla="*/ 29741771 w 114"/>
                <a:gd name="T69" fmla="*/ 34497505 h 113"/>
                <a:gd name="T70" fmla="*/ 32891587 w 114"/>
                <a:gd name="T71" fmla="*/ 30682618 h 113"/>
                <a:gd name="T72" fmla="*/ 32891587 w 114"/>
                <a:gd name="T73" fmla="*/ 28916327 h 113"/>
                <a:gd name="T74" fmla="*/ 31528199 w 114"/>
                <a:gd name="T75" fmla="*/ 28916327 h 113"/>
                <a:gd name="T76" fmla="*/ 31528199 w 114"/>
                <a:gd name="T77" fmla="*/ 27496026 h 113"/>
                <a:gd name="T78" fmla="*/ 32891587 w 114"/>
                <a:gd name="T79" fmla="*/ 25805192 h 113"/>
                <a:gd name="T80" fmla="*/ 32891587 w 114"/>
                <a:gd name="T81" fmla="*/ 20928357 h 113"/>
                <a:gd name="T82" fmla="*/ 35400077 w 114"/>
                <a:gd name="T83" fmla="*/ 18460705 h 113"/>
                <a:gd name="T84" fmla="*/ 35400077 w 114"/>
                <a:gd name="T85" fmla="*/ 17113603 h 113"/>
                <a:gd name="T86" fmla="*/ 33602350 w 114"/>
                <a:gd name="T87" fmla="*/ 15347303 h 113"/>
                <a:gd name="T88" fmla="*/ 35400077 w 114"/>
                <a:gd name="T89" fmla="*/ 13569152 h 113"/>
                <a:gd name="T90" fmla="*/ 37186367 w 114"/>
                <a:gd name="T91" fmla="*/ 13569152 h 113"/>
                <a:gd name="T92" fmla="*/ 37186367 w 114"/>
                <a:gd name="T93" fmla="*/ 12236158 h 113"/>
                <a:gd name="T94" fmla="*/ 38910865 w 114"/>
                <a:gd name="T95" fmla="*/ 13569152 h 113"/>
                <a:gd name="T96" fmla="*/ 40332667 w 114"/>
                <a:gd name="T97" fmla="*/ 13569152 h 113"/>
                <a:gd name="T98" fmla="*/ 40332667 w 114"/>
                <a:gd name="T99" fmla="*/ 10469739 h 113"/>
                <a:gd name="T100" fmla="*/ 38910865 w 114"/>
                <a:gd name="T101" fmla="*/ 7359213 h 113"/>
                <a:gd name="T102" fmla="*/ 38910865 w 114"/>
                <a:gd name="T103" fmla="*/ 5578188 h 113"/>
                <a:gd name="T104" fmla="*/ 40332667 w 114"/>
                <a:gd name="T105" fmla="*/ 5578188 h 113"/>
                <a:gd name="T106" fmla="*/ 38910865 w 114"/>
                <a:gd name="T107" fmla="*/ 3113547 h 113"/>
                <a:gd name="T108" fmla="*/ 38910865 w 114"/>
                <a:gd name="T109" fmla="*/ 1763433 h 11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4"/>
                <a:gd name="T166" fmla="*/ 0 h 113"/>
                <a:gd name="T167" fmla="*/ 114 w 114"/>
                <a:gd name="T168" fmla="*/ 113 h 11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4" h="113">
                  <a:moveTo>
                    <a:pt x="110" y="5"/>
                  </a:moveTo>
                  <a:lnTo>
                    <a:pt x="105" y="5"/>
                  </a:lnTo>
                  <a:lnTo>
                    <a:pt x="96" y="5"/>
                  </a:lnTo>
                  <a:lnTo>
                    <a:pt x="89" y="5"/>
                  </a:lnTo>
                  <a:lnTo>
                    <a:pt x="84" y="0"/>
                  </a:lnTo>
                  <a:lnTo>
                    <a:pt x="74" y="0"/>
                  </a:lnTo>
                  <a:lnTo>
                    <a:pt x="69" y="5"/>
                  </a:lnTo>
                  <a:lnTo>
                    <a:pt x="61" y="5"/>
                  </a:lnTo>
                  <a:lnTo>
                    <a:pt x="57" y="0"/>
                  </a:lnTo>
                  <a:lnTo>
                    <a:pt x="46" y="0"/>
                  </a:lnTo>
                  <a:lnTo>
                    <a:pt x="46" y="4"/>
                  </a:lnTo>
                  <a:lnTo>
                    <a:pt x="41" y="5"/>
                  </a:lnTo>
                  <a:lnTo>
                    <a:pt x="37" y="16"/>
                  </a:lnTo>
                  <a:lnTo>
                    <a:pt x="32" y="30"/>
                  </a:lnTo>
                  <a:lnTo>
                    <a:pt x="27" y="39"/>
                  </a:lnTo>
                  <a:lnTo>
                    <a:pt x="23" y="39"/>
                  </a:lnTo>
                  <a:lnTo>
                    <a:pt x="19" y="53"/>
                  </a:lnTo>
                  <a:lnTo>
                    <a:pt x="14" y="53"/>
                  </a:lnTo>
                  <a:lnTo>
                    <a:pt x="10" y="65"/>
                  </a:lnTo>
                  <a:lnTo>
                    <a:pt x="1" y="69"/>
                  </a:lnTo>
                  <a:lnTo>
                    <a:pt x="1" y="79"/>
                  </a:lnTo>
                  <a:lnTo>
                    <a:pt x="0" y="87"/>
                  </a:lnTo>
                  <a:lnTo>
                    <a:pt x="0" y="92"/>
                  </a:lnTo>
                  <a:lnTo>
                    <a:pt x="5" y="92"/>
                  </a:lnTo>
                  <a:lnTo>
                    <a:pt x="0" y="98"/>
                  </a:lnTo>
                  <a:lnTo>
                    <a:pt x="5" y="99"/>
                  </a:lnTo>
                  <a:lnTo>
                    <a:pt x="20" y="104"/>
                  </a:lnTo>
                  <a:lnTo>
                    <a:pt x="28" y="108"/>
                  </a:lnTo>
                  <a:lnTo>
                    <a:pt x="33" y="113"/>
                  </a:lnTo>
                  <a:lnTo>
                    <a:pt x="38" y="108"/>
                  </a:lnTo>
                  <a:lnTo>
                    <a:pt x="42" y="99"/>
                  </a:lnTo>
                  <a:lnTo>
                    <a:pt x="61" y="99"/>
                  </a:lnTo>
                  <a:lnTo>
                    <a:pt x="65" y="93"/>
                  </a:lnTo>
                  <a:lnTo>
                    <a:pt x="75" y="99"/>
                  </a:lnTo>
                  <a:lnTo>
                    <a:pt x="84" y="99"/>
                  </a:lnTo>
                  <a:lnTo>
                    <a:pt x="93" y="88"/>
                  </a:lnTo>
                  <a:lnTo>
                    <a:pt x="93" y="83"/>
                  </a:lnTo>
                  <a:lnTo>
                    <a:pt x="89" y="83"/>
                  </a:lnTo>
                  <a:lnTo>
                    <a:pt x="89" y="79"/>
                  </a:lnTo>
                  <a:lnTo>
                    <a:pt x="93" y="74"/>
                  </a:lnTo>
                  <a:cubicBezTo>
                    <a:pt x="93" y="70"/>
                    <a:pt x="93" y="65"/>
                    <a:pt x="93" y="60"/>
                  </a:cubicBezTo>
                  <a:lnTo>
                    <a:pt x="100" y="53"/>
                  </a:lnTo>
                  <a:lnTo>
                    <a:pt x="100" y="49"/>
                  </a:lnTo>
                  <a:lnTo>
                    <a:pt x="95" y="44"/>
                  </a:lnTo>
                  <a:lnTo>
                    <a:pt x="100" y="39"/>
                  </a:lnTo>
                  <a:lnTo>
                    <a:pt x="105" y="39"/>
                  </a:lnTo>
                  <a:lnTo>
                    <a:pt x="105" y="35"/>
                  </a:lnTo>
                  <a:lnTo>
                    <a:pt x="110" y="39"/>
                  </a:lnTo>
                  <a:lnTo>
                    <a:pt x="114" y="39"/>
                  </a:lnTo>
                  <a:lnTo>
                    <a:pt x="114" y="30"/>
                  </a:lnTo>
                  <a:lnTo>
                    <a:pt x="110" y="21"/>
                  </a:lnTo>
                  <a:lnTo>
                    <a:pt x="110" y="16"/>
                  </a:lnTo>
                  <a:lnTo>
                    <a:pt x="114" y="16"/>
                  </a:lnTo>
                  <a:lnTo>
                    <a:pt x="110" y="9"/>
                  </a:lnTo>
                  <a:lnTo>
                    <a:pt x="110" y="5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3" name="Freeform 121">
              <a:extLst>
                <a:ext uri="{FF2B5EF4-FFF2-40B4-BE49-F238E27FC236}">
                  <a16:creationId xmlns:a16="http://schemas.microsoft.com/office/drawing/2014/main" id="{72756641-FB9B-66F5-F065-FB6A65B36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6310" y="1997332"/>
              <a:ext cx="801134" cy="1245013"/>
            </a:xfrm>
            <a:custGeom>
              <a:avLst/>
              <a:gdLst>
                <a:gd name="T0" fmla="*/ 1757521 w 81"/>
                <a:gd name="T1" fmla="*/ 45595293 h 129"/>
                <a:gd name="T2" fmla="*/ 3100526 w 81"/>
                <a:gd name="T3" fmla="*/ 44884776 h 129"/>
                <a:gd name="T4" fmla="*/ 3100526 w 81"/>
                <a:gd name="T5" fmla="*/ 43102915 h 129"/>
                <a:gd name="T6" fmla="*/ 6615543 w 81"/>
                <a:gd name="T7" fmla="*/ 43102915 h 129"/>
                <a:gd name="T8" fmla="*/ 7958547 w 81"/>
                <a:gd name="T9" fmla="*/ 44884776 h 129"/>
                <a:gd name="T10" fmla="*/ 11113786 w 81"/>
                <a:gd name="T11" fmla="*/ 44884776 h 129"/>
                <a:gd name="T12" fmla="*/ 12816570 w 81"/>
                <a:gd name="T13" fmla="*/ 43102915 h 129"/>
                <a:gd name="T14" fmla="*/ 15971831 w 81"/>
                <a:gd name="T15" fmla="*/ 43102915 h 129"/>
                <a:gd name="T16" fmla="*/ 17656921 w 81"/>
                <a:gd name="T17" fmla="*/ 44884776 h 129"/>
                <a:gd name="T18" fmla="*/ 20130848 w 81"/>
                <a:gd name="T19" fmla="*/ 44884776 h 129"/>
                <a:gd name="T20" fmla="*/ 23231377 w 81"/>
                <a:gd name="T21" fmla="*/ 44884776 h 129"/>
                <a:gd name="T22" fmla="*/ 26673968 w 81"/>
                <a:gd name="T23" fmla="*/ 44884776 h 129"/>
                <a:gd name="T24" fmla="*/ 25687738 w 81"/>
                <a:gd name="T25" fmla="*/ 44174260 h 129"/>
                <a:gd name="T26" fmla="*/ 26317173 w 81"/>
                <a:gd name="T27" fmla="*/ 43102915 h 129"/>
                <a:gd name="T28" fmla="*/ 24986011 w 81"/>
                <a:gd name="T29" fmla="*/ 43102915 h 129"/>
                <a:gd name="T30" fmla="*/ 24986011 w 81"/>
                <a:gd name="T31" fmla="*/ 41737228 h 129"/>
                <a:gd name="T32" fmla="*/ 24986011 w 81"/>
                <a:gd name="T33" fmla="*/ 40304907 h 129"/>
                <a:gd name="T34" fmla="*/ 24986011 w 81"/>
                <a:gd name="T35" fmla="*/ 38519392 h 129"/>
                <a:gd name="T36" fmla="*/ 26317173 w 81"/>
                <a:gd name="T37" fmla="*/ 38519392 h 129"/>
                <a:gd name="T38" fmla="*/ 23231377 w 81"/>
                <a:gd name="T39" fmla="*/ 36796391 h 129"/>
                <a:gd name="T40" fmla="*/ 24986011 w 81"/>
                <a:gd name="T41" fmla="*/ 35360525 h 129"/>
                <a:gd name="T42" fmla="*/ 24986011 w 81"/>
                <a:gd name="T43" fmla="*/ 32503665 h 129"/>
                <a:gd name="T44" fmla="*/ 28071708 w 81"/>
                <a:gd name="T45" fmla="*/ 31141493 h 129"/>
                <a:gd name="T46" fmla="*/ 26317173 w 81"/>
                <a:gd name="T47" fmla="*/ 29356610 h 129"/>
                <a:gd name="T48" fmla="*/ 24986011 w 81"/>
                <a:gd name="T49" fmla="*/ 29356610 h 129"/>
                <a:gd name="T50" fmla="*/ 23231377 w 81"/>
                <a:gd name="T51" fmla="*/ 26123950 h 129"/>
                <a:gd name="T52" fmla="*/ 23231377 w 81"/>
                <a:gd name="T53" fmla="*/ 24415132 h 129"/>
                <a:gd name="T54" fmla="*/ 21459148 w 81"/>
                <a:gd name="T55" fmla="*/ 22615415 h 129"/>
                <a:gd name="T56" fmla="*/ 23231377 w 81"/>
                <a:gd name="T57" fmla="*/ 19832225 h 129"/>
                <a:gd name="T58" fmla="*/ 24986011 w 81"/>
                <a:gd name="T59" fmla="*/ 19832225 h 129"/>
                <a:gd name="T60" fmla="*/ 24986011 w 81"/>
                <a:gd name="T61" fmla="*/ 17325024 h 129"/>
                <a:gd name="T62" fmla="*/ 21459148 w 81"/>
                <a:gd name="T63" fmla="*/ 17325024 h 129"/>
                <a:gd name="T64" fmla="*/ 19072208 w 81"/>
                <a:gd name="T65" fmla="*/ 13816499 h 129"/>
                <a:gd name="T66" fmla="*/ 19072208 w 81"/>
                <a:gd name="T67" fmla="*/ 12034588 h 129"/>
                <a:gd name="T68" fmla="*/ 17656921 w 81"/>
                <a:gd name="T69" fmla="*/ 12034588 h 129"/>
                <a:gd name="T70" fmla="*/ 19072208 w 81"/>
                <a:gd name="T71" fmla="*/ 10598761 h 129"/>
                <a:gd name="T72" fmla="*/ 19429120 w 81"/>
                <a:gd name="T73" fmla="*/ 3147664 h 129"/>
                <a:gd name="T74" fmla="*/ 17656921 w 81"/>
                <a:gd name="T75" fmla="*/ 1781886 h 129"/>
                <a:gd name="T76" fmla="*/ 15971831 w 81"/>
                <a:gd name="T77" fmla="*/ 1781886 h 129"/>
                <a:gd name="T78" fmla="*/ 14214311 w 81"/>
                <a:gd name="T79" fmla="*/ 0 h 129"/>
                <a:gd name="T80" fmla="*/ 15971831 w 81"/>
                <a:gd name="T81" fmla="*/ 1781886 h 129"/>
                <a:gd name="T82" fmla="*/ 14571095 w 81"/>
                <a:gd name="T83" fmla="*/ 7090120 h 129"/>
                <a:gd name="T84" fmla="*/ 11113786 w 81"/>
                <a:gd name="T85" fmla="*/ 8798924 h 129"/>
                <a:gd name="T86" fmla="*/ 9716063 w 81"/>
                <a:gd name="T87" fmla="*/ 10598761 h 129"/>
                <a:gd name="T88" fmla="*/ 10058148 w 81"/>
                <a:gd name="T89" fmla="*/ 12034588 h 129"/>
                <a:gd name="T90" fmla="*/ 8300628 w 81"/>
                <a:gd name="T91" fmla="*/ 13816499 h 129"/>
                <a:gd name="T92" fmla="*/ 10058148 w 81"/>
                <a:gd name="T93" fmla="*/ 15178651 h 129"/>
                <a:gd name="T94" fmla="*/ 8300628 w 81"/>
                <a:gd name="T95" fmla="*/ 19832225 h 129"/>
                <a:gd name="T96" fmla="*/ 6615543 w 81"/>
                <a:gd name="T97" fmla="*/ 22979878 h 129"/>
                <a:gd name="T98" fmla="*/ 3100526 w 81"/>
                <a:gd name="T99" fmla="*/ 27923647 h 129"/>
                <a:gd name="T100" fmla="*/ 0 w 81"/>
                <a:gd name="T101" fmla="*/ 35360525 h 129"/>
                <a:gd name="T102" fmla="*/ 0 w 81"/>
                <a:gd name="T103" fmla="*/ 43102915 h 129"/>
                <a:gd name="T104" fmla="*/ 1415435 w 81"/>
                <a:gd name="T105" fmla="*/ 44884776 h 129"/>
                <a:gd name="T106" fmla="*/ 1757521 w 81"/>
                <a:gd name="T107" fmla="*/ 45595293 h 12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1"/>
                <a:gd name="T163" fmla="*/ 0 h 129"/>
                <a:gd name="T164" fmla="*/ 81 w 81"/>
                <a:gd name="T165" fmla="*/ 129 h 12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1" h="129">
                  <a:moveTo>
                    <a:pt x="5" y="129"/>
                  </a:moveTo>
                  <a:lnTo>
                    <a:pt x="9" y="127"/>
                  </a:lnTo>
                  <a:lnTo>
                    <a:pt x="9" y="122"/>
                  </a:lnTo>
                  <a:lnTo>
                    <a:pt x="19" y="122"/>
                  </a:lnTo>
                  <a:lnTo>
                    <a:pt x="23" y="127"/>
                  </a:lnTo>
                  <a:lnTo>
                    <a:pt x="32" y="127"/>
                  </a:lnTo>
                  <a:lnTo>
                    <a:pt x="37" y="122"/>
                  </a:lnTo>
                  <a:lnTo>
                    <a:pt x="46" y="122"/>
                  </a:lnTo>
                  <a:lnTo>
                    <a:pt x="51" y="127"/>
                  </a:lnTo>
                  <a:lnTo>
                    <a:pt x="58" y="127"/>
                  </a:lnTo>
                  <a:lnTo>
                    <a:pt x="67" y="127"/>
                  </a:lnTo>
                  <a:lnTo>
                    <a:pt x="77" y="127"/>
                  </a:lnTo>
                  <a:lnTo>
                    <a:pt x="74" y="125"/>
                  </a:lnTo>
                  <a:lnTo>
                    <a:pt x="76" y="122"/>
                  </a:lnTo>
                  <a:lnTo>
                    <a:pt x="72" y="122"/>
                  </a:lnTo>
                  <a:lnTo>
                    <a:pt x="72" y="118"/>
                  </a:lnTo>
                  <a:lnTo>
                    <a:pt x="72" y="114"/>
                  </a:lnTo>
                  <a:lnTo>
                    <a:pt x="72" y="109"/>
                  </a:lnTo>
                  <a:lnTo>
                    <a:pt x="76" y="109"/>
                  </a:lnTo>
                  <a:lnTo>
                    <a:pt x="67" y="104"/>
                  </a:lnTo>
                  <a:lnTo>
                    <a:pt x="72" y="100"/>
                  </a:lnTo>
                  <a:lnTo>
                    <a:pt x="72" y="92"/>
                  </a:lnTo>
                  <a:lnTo>
                    <a:pt x="81" y="88"/>
                  </a:lnTo>
                  <a:lnTo>
                    <a:pt x="76" y="83"/>
                  </a:lnTo>
                  <a:lnTo>
                    <a:pt x="72" y="83"/>
                  </a:lnTo>
                  <a:lnTo>
                    <a:pt x="67" y="74"/>
                  </a:lnTo>
                  <a:lnTo>
                    <a:pt x="67" y="69"/>
                  </a:lnTo>
                  <a:lnTo>
                    <a:pt x="62" y="64"/>
                  </a:lnTo>
                  <a:lnTo>
                    <a:pt x="67" y="56"/>
                  </a:lnTo>
                  <a:lnTo>
                    <a:pt x="72" y="56"/>
                  </a:lnTo>
                  <a:lnTo>
                    <a:pt x="72" y="49"/>
                  </a:lnTo>
                  <a:lnTo>
                    <a:pt x="62" y="49"/>
                  </a:lnTo>
                  <a:lnTo>
                    <a:pt x="55" y="39"/>
                  </a:lnTo>
                  <a:lnTo>
                    <a:pt x="55" y="34"/>
                  </a:lnTo>
                  <a:lnTo>
                    <a:pt x="51" y="34"/>
                  </a:lnTo>
                  <a:lnTo>
                    <a:pt x="55" y="30"/>
                  </a:lnTo>
                  <a:lnTo>
                    <a:pt x="56" y="9"/>
                  </a:lnTo>
                  <a:lnTo>
                    <a:pt x="51" y="5"/>
                  </a:lnTo>
                  <a:lnTo>
                    <a:pt x="46" y="5"/>
                  </a:lnTo>
                  <a:lnTo>
                    <a:pt x="41" y="0"/>
                  </a:lnTo>
                  <a:lnTo>
                    <a:pt x="46" y="5"/>
                  </a:lnTo>
                  <a:lnTo>
                    <a:pt x="42" y="20"/>
                  </a:lnTo>
                  <a:lnTo>
                    <a:pt x="32" y="25"/>
                  </a:lnTo>
                  <a:lnTo>
                    <a:pt x="28" y="30"/>
                  </a:lnTo>
                  <a:lnTo>
                    <a:pt x="29" y="34"/>
                  </a:lnTo>
                  <a:lnTo>
                    <a:pt x="24" y="39"/>
                  </a:lnTo>
                  <a:lnTo>
                    <a:pt x="29" y="43"/>
                  </a:lnTo>
                  <a:lnTo>
                    <a:pt x="24" y="56"/>
                  </a:lnTo>
                  <a:lnTo>
                    <a:pt x="19" y="65"/>
                  </a:lnTo>
                  <a:lnTo>
                    <a:pt x="9" y="79"/>
                  </a:lnTo>
                  <a:lnTo>
                    <a:pt x="0" y="100"/>
                  </a:lnTo>
                  <a:lnTo>
                    <a:pt x="0" y="122"/>
                  </a:lnTo>
                  <a:lnTo>
                    <a:pt x="4" y="127"/>
                  </a:lnTo>
                  <a:lnTo>
                    <a:pt x="5" y="129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" name="Freeform 122">
              <a:extLst>
                <a:ext uri="{FF2B5EF4-FFF2-40B4-BE49-F238E27FC236}">
                  <a16:creationId xmlns:a16="http://schemas.microsoft.com/office/drawing/2014/main" id="{22C73A23-AA1B-6A75-92C4-272B5AE08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885" y="3897100"/>
              <a:ext cx="1080226" cy="1129698"/>
            </a:xfrm>
            <a:custGeom>
              <a:avLst/>
              <a:gdLst>
                <a:gd name="T0" fmla="*/ 24695091 w 109"/>
                <a:gd name="T1" fmla="*/ 33679221 h 117"/>
                <a:gd name="T2" fmla="*/ 27472039 w 109"/>
                <a:gd name="T3" fmla="*/ 30875102 h 117"/>
                <a:gd name="T4" fmla="*/ 30263893 w 109"/>
                <a:gd name="T5" fmla="*/ 29086365 h 117"/>
                <a:gd name="T6" fmla="*/ 32042057 w 109"/>
                <a:gd name="T7" fmla="*/ 25917167 h 117"/>
                <a:gd name="T8" fmla="*/ 33834435 w 109"/>
                <a:gd name="T9" fmla="*/ 24130881 h 117"/>
                <a:gd name="T10" fmla="*/ 33834435 w 109"/>
                <a:gd name="T11" fmla="*/ 21615011 h 117"/>
                <a:gd name="T12" fmla="*/ 38386566 w 109"/>
                <a:gd name="T13" fmla="*/ 17022150 h 117"/>
                <a:gd name="T14" fmla="*/ 38386566 w 109"/>
                <a:gd name="T15" fmla="*/ 13852952 h 117"/>
                <a:gd name="T16" fmla="*/ 36608481 w 109"/>
                <a:gd name="T17" fmla="*/ 12064215 h 117"/>
                <a:gd name="T18" fmla="*/ 33471182 w 109"/>
                <a:gd name="T19" fmla="*/ 10263081 h 117"/>
                <a:gd name="T20" fmla="*/ 28904146 w 109"/>
                <a:gd name="T21" fmla="*/ 8547662 h 117"/>
                <a:gd name="T22" fmla="*/ 27126100 w 109"/>
                <a:gd name="T23" fmla="*/ 8547662 h 117"/>
                <a:gd name="T24" fmla="*/ 28904146 w 109"/>
                <a:gd name="T25" fmla="*/ 6396895 h 117"/>
                <a:gd name="T26" fmla="*/ 27126100 w 109"/>
                <a:gd name="T27" fmla="*/ 6396895 h 117"/>
                <a:gd name="T28" fmla="*/ 27126100 w 109"/>
                <a:gd name="T29" fmla="*/ 4593465 h 117"/>
                <a:gd name="T30" fmla="*/ 23625627 w 109"/>
                <a:gd name="T31" fmla="*/ 2877433 h 117"/>
                <a:gd name="T32" fmla="*/ 23625627 w 109"/>
                <a:gd name="T33" fmla="*/ 1438958 h 117"/>
                <a:gd name="T34" fmla="*/ 22192908 w 109"/>
                <a:gd name="T35" fmla="*/ 1438958 h 117"/>
                <a:gd name="T36" fmla="*/ 20414730 w 109"/>
                <a:gd name="T37" fmla="*/ 1438958 h 117"/>
                <a:gd name="T38" fmla="*/ 18695342 w 109"/>
                <a:gd name="T39" fmla="*/ 1438958 h 117"/>
                <a:gd name="T40" fmla="*/ 17263226 w 109"/>
                <a:gd name="T41" fmla="*/ 2877433 h 117"/>
                <a:gd name="T42" fmla="*/ 9136938 w 109"/>
                <a:gd name="T43" fmla="*/ 0 h 117"/>
                <a:gd name="T44" fmla="*/ 9136938 w 109"/>
                <a:gd name="T45" fmla="*/ 1438958 h 117"/>
                <a:gd name="T46" fmla="*/ 5999150 w 109"/>
                <a:gd name="T47" fmla="*/ 1438958 h 117"/>
                <a:gd name="T48" fmla="*/ 4206770 w 109"/>
                <a:gd name="T49" fmla="*/ 2877433 h 117"/>
                <a:gd name="T50" fmla="*/ 3137305 w 109"/>
                <a:gd name="T51" fmla="*/ 4593465 h 117"/>
                <a:gd name="T52" fmla="*/ 1778179 w 109"/>
                <a:gd name="T53" fmla="*/ 6396895 h 117"/>
                <a:gd name="T54" fmla="*/ 0 w 109"/>
                <a:gd name="T55" fmla="*/ 13852952 h 117"/>
                <a:gd name="T56" fmla="*/ 0 w 109"/>
                <a:gd name="T57" fmla="*/ 17022150 h 117"/>
                <a:gd name="T58" fmla="*/ 0 w 109"/>
                <a:gd name="T59" fmla="*/ 20249820 h 117"/>
                <a:gd name="T60" fmla="*/ 1778179 w 109"/>
                <a:gd name="T61" fmla="*/ 21980089 h 117"/>
                <a:gd name="T62" fmla="*/ 0 w 109"/>
                <a:gd name="T63" fmla="*/ 29086365 h 117"/>
                <a:gd name="T64" fmla="*/ 1778179 w 109"/>
                <a:gd name="T65" fmla="*/ 29086365 h 117"/>
                <a:gd name="T66" fmla="*/ 4206770 w 109"/>
                <a:gd name="T67" fmla="*/ 30875102 h 117"/>
                <a:gd name="T68" fmla="*/ 7416962 w 109"/>
                <a:gd name="T69" fmla="*/ 30875102 h 117"/>
                <a:gd name="T70" fmla="*/ 9136938 w 109"/>
                <a:gd name="T71" fmla="*/ 29086365 h 117"/>
                <a:gd name="T72" fmla="*/ 10918134 w 109"/>
                <a:gd name="T73" fmla="*/ 30875102 h 117"/>
                <a:gd name="T74" fmla="*/ 12347250 w 109"/>
                <a:gd name="T75" fmla="*/ 30875102 h 117"/>
                <a:gd name="T76" fmla="*/ 12347250 w 109"/>
                <a:gd name="T77" fmla="*/ 34391534 h 117"/>
                <a:gd name="T78" fmla="*/ 14055315 w 109"/>
                <a:gd name="T79" fmla="*/ 35833036 h 117"/>
                <a:gd name="T80" fmla="*/ 14055315 w 109"/>
                <a:gd name="T81" fmla="*/ 40076109 h 117"/>
                <a:gd name="T82" fmla="*/ 15485042 w 109"/>
                <a:gd name="T83" fmla="*/ 41500251 h 117"/>
                <a:gd name="T84" fmla="*/ 18695342 w 109"/>
                <a:gd name="T85" fmla="*/ 40076109 h 117"/>
                <a:gd name="T86" fmla="*/ 22556656 w 109"/>
                <a:gd name="T87" fmla="*/ 40076109 h 117"/>
                <a:gd name="T88" fmla="*/ 22556656 w 109"/>
                <a:gd name="T89" fmla="*/ 35833036 h 117"/>
                <a:gd name="T90" fmla="*/ 24695091 w 109"/>
                <a:gd name="T91" fmla="*/ 33679221 h 11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9"/>
                <a:gd name="T139" fmla="*/ 0 h 117"/>
                <a:gd name="T140" fmla="*/ 109 w 109"/>
                <a:gd name="T141" fmla="*/ 117 h 11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9" h="117">
                  <a:moveTo>
                    <a:pt x="70" y="95"/>
                  </a:moveTo>
                  <a:lnTo>
                    <a:pt x="78" y="87"/>
                  </a:lnTo>
                  <a:lnTo>
                    <a:pt x="86" y="82"/>
                  </a:lnTo>
                  <a:lnTo>
                    <a:pt x="91" y="73"/>
                  </a:lnTo>
                  <a:lnTo>
                    <a:pt x="96" y="68"/>
                  </a:lnTo>
                  <a:lnTo>
                    <a:pt x="96" y="61"/>
                  </a:lnTo>
                  <a:lnTo>
                    <a:pt x="109" y="48"/>
                  </a:lnTo>
                  <a:lnTo>
                    <a:pt x="109" y="39"/>
                  </a:lnTo>
                  <a:lnTo>
                    <a:pt x="104" y="34"/>
                  </a:lnTo>
                  <a:lnTo>
                    <a:pt x="95" y="29"/>
                  </a:lnTo>
                  <a:lnTo>
                    <a:pt x="82" y="24"/>
                  </a:lnTo>
                  <a:lnTo>
                    <a:pt x="77" y="24"/>
                  </a:lnTo>
                  <a:lnTo>
                    <a:pt x="82" y="18"/>
                  </a:lnTo>
                  <a:lnTo>
                    <a:pt x="77" y="18"/>
                  </a:lnTo>
                  <a:lnTo>
                    <a:pt x="77" y="13"/>
                  </a:lnTo>
                  <a:lnTo>
                    <a:pt x="67" y="8"/>
                  </a:lnTo>
                  <a:lnTo>
                    <a:pt x="67" y="4"/>
                  </a:lnTo>
                  <a:lnTo>
                    <a:pt x="63" y="4"/>
                  </a:lnTo>
                  <a:lnTo>
                    <a:pt x="58" y="4"/>
                  </a:lnTo>
                  <a:lnTo>
                    <a:pt x="53" y="4"/>
                  </a:lnTo>
                  <a:lnTo>
                    <a:pt x="49" y="8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17" y="4"/>
                  </a:lnTo>
                  <a:lnTo>
                    <a:pt x="12" y="8"/>
                  </a:lnTo>
                  <a:lnTo>
                    <a:pt x="9" y="13"/>
                  </a:lnTo>
                  <a:lnTo>
                    <a:pt x="5" y="18"/>
                  </a:lnTo>
                  <a:lnTo>
                    <a:pt x="0" y="39"/>
                  </a:lnTo>
                  <a:lnTo>
                    <a:pt x="0" y="48"/>
                  </a:lnTo>
                  <a:lnTo>
                    <a:pt x="0" y="57"/>
                  </a:lnTo>
                  <a:lnTo>
                    <a:pt x="5" y="62"/>
                  </a:lnTo>
                  <a:lnTo>
                    <a:pt x="0" y="82"/>
                  </a:lnTo>
                  <a:lnTo>
                    <a:pt x="5" y="82"/>
                  </a:lnTo>
                  <a:lnTo>
                    <a:pt x="12" y="87"/>
                  </a:lnTo>
                  <a:lnTo>
                    <a:pt x="21" y="87"/>
                  </a:lnTo>
                  <a:lnTo>
                    <a:pt x="26" y="82"/>
                  </a:lnTo>
                  <a:lnTo>
                    <a:pt x="31" y="87"/>
                  </a:lnTo>
                  <a:lnTo>
                    <a:pt x="35" y="87"/>
                  </a:lnTo>
                  <a:lnTo>
                    <a:pt x="35" y="97"/>
                  </a:lnTo>
                  <a:lnTo>
                    <a:pt x="40" y="101"/>
                  </a:lnTo>
                  <a:lnTo>
                    <a:pt x="40" y="113"/>
                  </a:lnTo>
                  <a:lnTo>
                    <a:pt x="44" y="117"/>
                  </a:lnTo>
                  <a:lnTo>
                    <a:pt x="53" y="113"/>
                  </a:lnTo>
                  <a:lnTo>
                    <a:pt x="64" y="113"/>
                  </a:lnTo>
                  <a:lnTo>
                    <a:pt x="64" y="101"/>
                  </a:lnTo>
                  <a:lnTo>
                    <a:pt x="70" y="95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5" name="Freeform 123">
              <a:extLst>
                <a:ext uri="{FF2B5EF4-FFF2-40B4-BE49-F238E27FC236}">
                  <a16:creationId xmlns:a16="http://schemas.microsoft.com/office/drawing/2014/main" id="{365342BC-3A00-5714-3825-950542787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9593" y="2374550"/>
              <a:ext cx="1807070" cy="1698455"/>
            </a:xfrm>
            <a:custGeom>
              <a:avLst/>
              <a:gdLst>
                <a:gd name="T0" fmla="*/ 0 w 182"/>
                <a:gd name="T1" fmla="*/ 9158667 h 176"/>
                <a:gd name="T2" fmla="*/ 17854328 w 182"/>
                <a:gd name="T3" fmla="*/ 7433253 h 176"/>
                <a:gd name="T4" fmla="*/ 17854328 w 182"/>
                <a:gd name="T5" fmla="*/ 1434699 h 176"/>
                <a:gd name="T6" fmla="*/ 19667491 w 182"/>
                <a:gd name="T7" fmla="*/ 0 h 176"/>
                <a:gd name="T8" fmla="*/ 22854662 w 182"/>
                <a:gd name="T9" fmla="*/ 3142882 h 176"/>
                <a:gd name="T10" fmla="*/ 22854662 w 182"/>
                <a:gd name="T11" fmla="*/ 7433253 h 176"/>
                <a:gd name="T12" fmla="*/ 24652802 w 182"/>
                <a:gd name="T13" fmla="*/ 8794887 h 176"/>
                <a:gd name="T14" fmla="*/ 25385856 w 182"/>
                <a:gd name="T15" fmla="*/ 10590336 h 176"/>
                <a:gd name="T16" fmla="*/ 27183996 w 182"/>
                <a:gd name="T17" fmla="*/ 12374610 h 176"/>
                <a:gd name="T18" fmla="*/ 65084438 w 182"/>
                <a:gd name="T19" fmla="*/ 13806899 h 176"/>
                <a:gd name="T20" fmla="*/ 61825410 w 182"/>
                <a:gd name="T21" fmla="*/ 21530248 h 176"/>
                <a:gd name="T22" fmla="*/ 61825410 w 182"/>
                <a:gd name="T23" fmla="*/ 29324266 h 176"/>
                <a:gd name="T24" fmla="*/ 63271304 w 182"/>
                <a:gd name="T25" fmla="*/ 31123333 h 176"/>
                <a:gd name="T26" fmla="*/ 61825410 w 182"/>
                <a:gd name="T27" fmla="*/ 35340134 h 176"/>
                <a:gd name="T28" fmla="*/ 60450567 w 182"/>
                <a:gd name="T29" fmla="*/ 40278956 h 176"/>
                <a:gd name="T30" fmla="*/ 58637591 w 182"/>
                <a:gd name="T31" fmla="*/ 43424725 h 176"/>
                <a:gd name="T32" fmla="*/ 56837117 w 182"/>
                <a:gd name="T33" fmla="*/ 43424725 h 176"/>
                <a:gd name="T34" fmla="*/ 55098120 w 182"/>
                <a:gd name="T35" fmla="*/ 48363645 h 176"/>
                <a:gd name="T36" fmla="*/ 53649219 w 182"/>
                <a:gd name="T37" fmla="*/ 48363645 h 176"/>
                <a:gd name="T38" fmla="*/ 52203325 w 182"/>
                <a:gd name="T39" fmla="*/ 52289786 h 176"/>
                <a:gd name="T40" fmla="*/ 48664012 w 182"/>
                <a:gd name="T41" fmla="*/ 54015777 h 176"/>
                <a:gd name="T42" fmla="*/ 48664012 w 182"/>
                <a:gd name="T43" fmla="*/ 57231629 h 176"/>
                <a:gd name="T44" fmla="*/ 48664012 w 182"/>
                <a:gd name="T45" fmla="*/ 60377526 h 176"/>
                <a:gd name="T46" fmla="*/ 45053332 w 182"/>
                <a:gd name="T47" fmla="*/ 58667058 h 176"/>
                <a:gd name="T48" fmla="*/ 45053332 w 182"/>
                <a:gd name="T49" fmla="*/ 57231629 h 176"/>
                <a:gd name="T50" fmla="*/ 40065089 w 182"/>
                <a:gd name="T51" fmla="*/ 57231629 h 176"/>
                <a:gd name="T52" fmla="*/ 38618601 w 182"/>
                <a:gd name="T53" fmla="*/ 59012881 h 176"/>
                <a:gd name="T54" fmla="*/ 30371815 w 182"/>
                <a:gd name="T55" fmla="*/ 55796910 h 176"/>
                <a:gd name="T56" fmla="*/ 30371815 w 182"/>
                <a:gd name="T57" fmla="*/ 57231629 h 176"/>
                <a:gd name="T58" fmla="*/ 27183996 w 182"/>
                <a:gd name="T59" fmla="*/ 57595384 h 176"/>
                <a:gd name="T60" fmla="*/ 25385856 w 182"/>
                <a:gd name="T61" fmla="*/ 59012881 h 176"/>
                <a:gd name="T62" fmla="*/ 24652802 w 182"/>
                <a:gd name="T63" fmla="*/ 60377526 h 176"/>
                <a:gd name="T64" fmla="*/ 22854662 w 182"/>
                <a:gd name="T65" fmla="*/ 62173551 h 176"/>
                <a:gd name="T66" fmla="*/ 21479877 w 182"/>
                <a:gd name="T67" fmla="*/ 59012881 h 176"/>
                <a:gd name="T68" fmla="*/ 17854328 w 182"/>
                <a:gd name="T69" fmla="*/ 55796910 h 176"/>
                <a:gd name="T70" fmla="*/ 19667491 w 182"/>
                <a:gd name="T71" fmla="*/ 54015777 h 176"/>
                <a:gd name="T72" fmla="*/ 19667491 w 182"/>
                <a:gd name="T73" fmla="*/ 52289786 h 176"/>
                <a:gd name="T74" fmla="*/ 8247283 w 182"/>
                <a:gd name="T75" fmla="*/ 52289786 h 176"/>
                <a:gd name="T76" fmla="*/ 8247283 w 182"/>
                <a:gd name="T77" fmla="*/ 46641248 h 176"/>
                <a:gd name="T78" fmla="*/ 6434249 w 182"/>
                <a:gd name="T79" fmla="*/ 44857152 h 176"/>
                <a:gd name="T80" fmla="*/ 6434249 w 182"/>
                <a:gd name="T81" fmla="*/ 43424725 h 176"/>
                <a:gd name="T82" fmla="*/ 8247283 w 182"/>
                <a:gd name="T83" fmla="*/ 41714257 h 176"/>
                <a:gd name="T84" fmla="*/ 6434249 w 182"/>
                <a:gd name="T85" fmla="*/ 40278956 h 176"/>
                <a:gd name="T86" fmla="*/ 6434249 w 182"/>
                <a:gd name="T87" fmla="*/ 38482911 h 176"/>
                <a:gd name="T88" fmla="*/ 4621722 w 182"/>
                <a:gd name="T89" fmla="*/ 37063025 h 176"/>
                <a:gd name="T90" fmla="*/ 6798363 w 182"/>
                <a:gd name="T91" fmla="*/ 35340134 h 176"/>
                <a:gd name="T92" fmla="*/ 8247283 w 182"/>
                <a:gd name="T93" fmla="*/ 31123333 h 176"/>
                <a:gd name="T94" fmla="*/ 9974318 w 182"/>
                <a:gd name="T95" fmla="*/ 29324266 h 176"/>
                <a:gd name="T96" fmla="*/ 9974318 w 182"/>
                <a:gd name="T97" fmla="*/ 27907382 h 176"/>
                <a:gd name="T98" fmla="*/ 8247283 w 182"/>
                <a:gd name="T99" fmla="*/ 24400257 h 176"/>
                <a:gd name="T100" fmla="*/ 8247283 w 182"/>
                <a:gd name="T101" fmla="*/ 21530248 h 176"/>
                <a:gd name="T102" fmla="*/ 3261323 w 182"/>
                <a:gd name="T103" fmla="*/ 21530248 h 176"/>
                <a:gd name="T104" fmla="*/ 0 w 182"/>
                <a:gd name="T105" fmla="*/ 17313412 h 176"/>
                <a:gd name="T106" fmla="*/ 0 w 182"/>
                <a:gd name="T107" fmla="*/ 9158667 h 17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82"/>
                <a:gd name="T163" fmla="*/ 0 h 176"/>
                <a:gd name="T164" fmla="*/ 182 w 182"/>
                <a:gd name="T165" fmla="*/ 176 h 17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82" h="176">
                  <a:moveTo>
                    <a:pt x="0" y="26"/>
                  </a:moveTo>
                  <a:lnTo>
                    <a:pt x="50" y="21"/>
                  </a:lnTo>
                  <a:cubicBezTo>
                    <a:pt x="50" y="16"/>
                    <a:pt x="50" y="9"/>
                    <a:pt x="50" y="4"/>
                  </a:cubicBezTo>
                  <a:lnTo>
                    <a:pt x="55" y="0"/>
                  </a:lnTo>
                  <a:lnTo>
                    <a:pt x="64" y="9"/>
                  </a:lnTo>
                  <a:lnTo>
                    <a:pt x="64" y="21"/>
                  </a:lnTo>
                  <a:lnTo>
                    <a:pt x="69" y="25"/>
                  </a:lnTo>
                  <a:lnTo>
                    <a:pt x="71" y="30"/>
                  </a:lnTo>
                  <a:lnTo>
                    <a:pt x="76" y="35"/>
                  </a:lnTo>
                  <a:lnTo>
                    <a:pt x="182" y="39"/>
                  </a:lnTo>
                  <a:lnTo>
                    <a:pt x="173" y="61"/>
                  </a:lnTo>
                  <a:lnTo>
                    <a:pt x="173" y="83"/>
                  </a:lnTo>
                  <a:lnTo>
                    <a:pt x="177" y="88"/>
                  </a:lnTo>
                  <a:lnTo>
                    <a:pt x="173" y="100"/>
                  </a:lnTo>
                  <a:lnTo>
                    <a:pt x="169" y="114"/>
                  </a:lnTo>
                  <a:lnTo>
                    <a:pt x="164" y="123"/>
                  </a:lnTo>
                  <a:lnTo>
                    <a:pt x="159" y="123"/>
                  </a:lnTo>
                  <a:lnTo>
                    <a:pt x="154" y="137"/>
                  </a:lnTo>
                  <a:lnTo>
                    <a:pt x="150" y="137"/>
                  </a:lnTo>
                  <a:lnTo>
                    <a:pt x="146" y="148"/>
                  </a:lnTo>
                  <a:lnTo>
                    <a:pt x="136" y="153"/>
                  </a:lnTo>
                  <a:lnTo>
                    <a:pt x="136" y="162"/>
                  </a:lnTo>
                  <a:lnTo>
                    <a:pt x="136" y="171"/>
                  </a:lnTo>
                  <a:lnTo>
                    <a:pt x="126" y="166"/>
                  </a:lnTo>
                  <a:lnTo>
                    <a:pt x="126" y="162"/>
                  </a:lnTo>
                  <a:cubicBezTo>
                    <a:pt x="122" y="162"/>
                    <a:pt x="117" y="162"/>
                    <a:pt x="112" y="162"/>
                  </a:cubicBezTo>
                  <a:lnTo>
                    <a:pt x="108" y="167"/>
                  </a:lnTo>
                  <a:lnTo>
                    <a:pt x="85" y="158"/>
                  </a:lnTo>
                  <a:lnTo>
                    <a:pt x="85" y="162"/>
                  </a:lnTo>
                  <a:lnTo>
                    <a:pt x="76" y="163"/>
                  </a:lnTo>
                  <a:lnTo>
                    <a:pt x="71" y="167"/>
                  </a:lnTo>
                  <a:lnTo>
                    <a:pt x="69" y="171"/>
                  </a:lnTo>
                  <a:lnTo>
                    <a:pt x="64" y="176"/>
                  </a:lnTo>
                  <a:lnTo>
                    <a:pt x="60" y="167"/>
                  </a:lnTo>
                  <a:lnTo>
                    <a:pt x="50" y="158"/>
                  </a:lnTo>
                  <a:lnTo>
                    <a:pt x="55" y="153"/>
                  </a:lnTo>
                  <a:lnTo>
                    <a:pt x="55" y="148"/>
                  </a:lnTo>
                  <a:lnTo>
                    <a:pt x="23" y="148"/>
                  </a:lnTo>
                  <a:lnTo>
                    <a:pt x="23" y="132"/>
                  </a:lnTo>
                  <a:lnTo>
                    <a:pt x="18" y="127"/>
                  </a:lnTo>
                  <a:lnTo>
                    <a:pt x="18" y="123"/>
                  </a:lnTo>
                  <a:lnTo>
                    <a:pt x="23" y="118"/>
                  </a:lnTo>
                  <a:lnTo>
                    <a:pt x="18" y="114"/>
                  </a:lnTo>
                  <a:lnTo>
                    <a:pt x="18" y="109"/>
                  </a:lnTo>
                  <a:lnTo>
                    <a:pt x="13" y="105"/>
                  </a:lnTo>
                  <a:lnTo>
                    <a:pt x="19" y="100"/>
                  </a:lnTo>
                  <a:lnTo>
                    <a:pt x="23" y="88"/>
                  </a:lnTo>
                  <a:lnTo>
                    <a:pt x="28" y="83"/>
                  </a:lnTo>
                  <a:lnTo>
                    <a:pt x="28" y="79"/>
                  </a:lnTo>
                  <a:lnTo>
                    <a:pt x="23" y="69"/>
                  </a:lnTo>
                  <a:lnTo>
                    <a:pt x="23" y="61"/>
                  </a:lnTo>
                  <a:lnTo>
                    <a:pt x="9" y="61"/>
                  </a:lnTo>
                  <a:lnTo>
                    <a:pt x="0" y="49"/>
                  </a:lnTo>
                  <a:lnTo>
                    <a:pt x="0" y="26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Freeform 124">
              <a:extLst>
                <a:ext uri="{FF2B5EF4-FFF2-40B4-BE49-F238E27FC236}">
                  <a16:creationId xmlns:a16="http://schemas.microsoft.com/office/drawing/2014/main" id="{789F263C-B77D-5FF2-37CA-5C00EE139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8910" y="4315364"/>
              <a:ext cx="1347269" cy="848251"/>
            </a:xfrm>
            <a:custGeom>
              <a:avLst/>
              <a:gdLst>
                <a:gd name="T0" fmla="*/ 33019313 w 136"/>
                <a:gd name="T1" fmla="*/ 25900233 h 88"/>
                <a:gd name="T2" fmla="*/ 27405986 w 136"/>
                <a:gd name="T3" fmla="*/ 30792773 h 88"/>
                <a:gd name="T4" fmla="*/ 25616450 w 136"/>
                <a:gd name="T5" fmla="*/ 29022093 h 88"/>
                <a:gd name="T6" fmla="*/ 24189628 w 136"/>
                <a:gd name="T7" fmla="*/ 30792773 h 88"/>
                <a:gd name="T8" fmla="*/ 24189628 w 136"/>
                <a:gd name="T9" fmla="*/ 29022093 h 88"/>
                <a:gd name="T10" fmla="*/ 21058467 w 136"/>
                <a:gd name="T11" fmla="*/ 27326653 h 88"/>
                <a:gd name="T12" fmla="*/ 19286717 w 136"/>
                <a:gd name="T13" fmla="*/ 27326653 h 88"/>
                <a:gd name="T14" fmla="*/ 21058467 w 136"/>
                <a:gd name="T15" fmla="*/ 25900233 h 88"/>
                <a:gd name="T16" fmla="*/ 19646432 w 136"/>
                <a:gd name="T17" fmla="*/ 24476260 h 88"/>
                <a:gd name="T18" fmla="*/ 17582467 w 136"/>
                <a:gd name="T19" fmla="*/ 20304303 h 88"/>
                <a:gd name="T20" fmla="*/ 16155655 w 136"/>
                <a:gd name="T21" fmla="*/ 18518275 h 88"/>
                <a:gd name="T22" fmla="*/ 13024464 w 136"/>
                <a:gd name="T23" fmla="*/ 18518275 h 88"/>
                <a:gd name="T24" fmla="*/ 9463797 w 136"/>
                <a:gd name="T25" fmla="*/ 17167589 h 88"/>
                <a:gd name="T26" fmla="*/ 4558008 w 136"/>
                <a:gd name="T27" fmla="*/ 17167589 h 88"/>
                <a:gd name="T28" fmla="*/ 1774745 w 136"/>
                <a:gd name="T29" fmla="*/ 15396446 h 88"/>
                <a:gd name="T30" fmla="*/ 0 w 136"/>
                <a:gd name="T31" fmla="*/ 15396446 h 88"/>
                <a:gd name="T32" fmla="*/ 2768487 w 136"/>
                <a:gd name="T33" fmla="*/ 13625766 h 88"/>
                <a:gd name="T34" fmla="*/ 4558008 w 136"/>
                <a:gd name="T35" fmla="*/ 10503817 h 88"/>
                <a:gd name="T36" fmla="*/ 6332755 w 136"/>
                <a:gd name="T37" fmla="*/ 8735547 h 88"/>
                <a:gd name="T38" fmla="*/ 6332755 w 136"/>
                <a:gd name="T39" fmla="*/ 6316515 h 88"/>
                <a:gd name="T40" fmla="*/ 10890123 w 136"/>
                <a:gd name="T41" fmla="*/ 1771263 h 88"/>
                <a:gd name="T42" fmla="*/ 14380910 w 136"/>
                <a:gd name="T43" fmla="*/ 0 h 88"/>
                <a:gd name="T44" fmla="*/ 16155655 w 136"/>
                <a:gd name="T45" fmla="*/ 1771263 h 88"/>
                <a:gd name="T46" fmla="*/ 19286717 w 136"/>
                <a:gd name="T47" fmla="*/ 1771263 h 88"/>
                <a:gd name="T48" fmla="*/ 21058467 w 136"/>
                <a:gd name="T49" fmla="*/ 1771263 h 88"/>
                <a:gd name="T50" fmla="*/ 22847984 w 136"/>
                <a:gd name="T51" fmla="*/ 3121861 h 88"/>
                <a:gd name="T52" fmla="*/ 24189628 w 136"/>
                <a:gd name="T53" fmla="*/ 1771263 h 88"/>
                <a:gd name="T54" fmla="*/ 27405986 w 136"/>
                <a:gd name="T55" fmla="*/ 1771263 h 88"/>
                <a:gd name="T56" fmla="*/ 29180109 w 136"/>
                <a:gd name="T57" fmla="*/ 1771263 h 88"/>
                <a:gd name="T58" fmla="*/ 30881982 w 136"/>
                <a:gd name="T59" fmla="*/ 1771263 h 88"/>
                <a:gd name="T60" fmla="*/ 32311783 w 136"/>
                <a:gd name="T61" fmla="*/ 3121861 h 88"/>
                <a:gd name="T62" fmla="*/ 32311783 w 136"/>
                <a:gd name="T63" fmla="*/ 9438350 h 88"/>
                <a:gd name="T64" fmla="*/ 33019313 w 136"/>
                <a:gd name="T65" fmla="*/ 10865349 h 88"/>
                <a:gd name="T66" fmla="*/ 34445641 w 136"/>
                <a:gd name="T67" fmla="*/ 10865349 h 88"/>
                <a:gd name="T68" fmla="*/ 33019313 w 136"/>
                <a:gd name="T69" fmla="*/ 13987209 h 88"/>
                <a:gd name="T70" fmla="*/ 36147494 w 136"/>
                <a:gd name="T71" fmla="*/ 17167589 h 88"/>
                <a:gd name="T72" fmla="*/ 36147494 w 136"/>
                <a:gd name="T73" fmla="*/ 18880330 h 88"/>
                <a:gd name="T74" fmla="*/ 37936419 w 136"/>
                <a:gd name="T75" fmla="*/ 18880330 h 88"/>
                <a:gd name="T76" fmla="*/ 39711154 w 136"/>
                <a:gd name="T77" fmla="*/ 17167589 h 88"/>
                <a:gd name="T78" fmla="*/ 42839325 w 136"/>
                <a:gd name="T79" fmla="*/ 17167589 h 88"/>
                <a:gd name="T80" fmla="*/ 44628841 w 136"/>
                <a:gd name="T81" fmla="*/ 15396446 h 88"/>
                <a:gd name="T82" fmla="*/ 44628841 w 136"/>
                <a:gd name="T83" fmla="*/ 17167589 h 88"/>
                <a:gd name="T84" fmla="*/ 47759923 w 136"/>
                <a:gd name="T85" fmla="*/ 17167589 h 88"/>
                <a:gd name="T86" fmla="*/ 45970406 w 136"/>
                <a:gd name="T87" fmla="*/ 18518275 h 88"/>
                <a:gd name="T88" fmla="*/ 44628841 w 136"/>
                <a:gd name="T89" fmla="*/ 18518275 h 88"/>
                <a:gd name="T90" fmla="*/ 39711154 w 136"/>
                <a:gd name="T91" fmla="*/ 24476260 h 88"/>
                <a:gd name="T92" fmla="*/ 38281352 w 136"/>
                <a:gd name="T93" fmla="*/ 24476260 h 88"/>
                <a:gd name="T94" fmla="*/ 33019313 w 136"/>
                <a:gd name="T95" fmla="*/ 25900233 h 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6"/>
                <a:gd name="T145" fmla="*/ 0 h 88"/>
                <a:gd name="T146" fmla="*/ 136 w 136"/>
                <a:gd name="T147" fmla="*/ 88 h 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6" h="88">
                  <a:moveTo>
                    <a:pt x="94" y="74"/>
                  </a:moveTo>
                  <a:lnTo>
                    <a:pt x="78" y="88"/>
                  </a:lnTo>
                  <a:lnTo>
                    <a:pt x="73" y="83"/>
                  </a:lnTo>
                  <a:lnTo>
                    <a:pt x="69" y="88"/>
                  </a:lnTo>
                  <a:lnTo>
                    <a:pt x="69" y="83"/>
                  </a:lnTo>
                  <a:lnTo>
                    <a:pt x="60" y="78"/>
                  </a:lnTo>
                  <a:lnTo>
                    <a:pt x="55" y="78"/>
                  </a:lnTo>
                  <a:lnTo>
                    <a:pt x="60" y="74"/>
                  </a:lnTo>
                  <a:lnTo>
                    <a:pt x="56" y="70"/>
                  </a:lnTo>
                  <a:lnTo>
                    <a:pt x="50" y="58"/>
                  </a:lnTo>
                  <a:lnTo>
                    <a:pt x="46" y="53"/>
                  </a:lnTo>
                  <a:lnTo>
                    <a:pt x="37" y="53"/>
                  </a:lnTo>
                  <a:lnTo>
                    <a:pt x="27" y="49"/>
                  </a:lnTo>
                  <a:lnTo>
                    <a:pt x="13" y="49"/>
                  </a:lnTo>
                  <a:lnTo>
                    <a:pt x="5" y="44"/>
                  </a:lnTo>
                  <a:lnTo>
                    <a:pt x="0" y="44"/>
                  </a:lnTo>
                  <a:lnTo>
                    <a:pt x="8" y="39"/>
                  </a:lnTo>
                  <a:lnTo>
                    <a:pt x="13" y="30"/>
                  </a:lnTo>
                  <a:lnTo>
                    <a:pt x="18" y="25"/>
                  </a:lnTo>
                  <a:lnTo>
                    <a:pt x="18" y="18"/>
                  </a:lnTo>
                  <a:lnTo>
                    <a:pt x="31" y="5"/>
                  </a:lnTo>
                  <a:lnTo>
                    <a:pt x="41" y="0"/>
                  </a:lnTo>
                  <a:lnTo>
                    <a:pt x="46" y="5"/>
                  </a:lnTo>
                  <a:lnTo>
                    <a:pt x="55" y="5"/>
                  </a:lnTo>
                  <a:lnTo>
                    <a:pt x="60" y="5"/>
                  </a:lnTo>
                  <a:lnTo>
                    <a:pt x="65" y="9"/>
                  </a:lnTo>
                  <a:lnTo>
                    <a:pt x="69" y="5"/>
                  </a:lnTo>
                  <a:lnTo>
                    <a:pt x="78" y="5"/>
                  </a:lnTo>
                  <a:lnTo>
                    <a:pt x="83" y="5"/>
                  </a:lnTo>
                  <a:lnTo>
                    <a:pt x="88" y="5"/>
                  </a:lnTo>
                  <a:lnTo>
                    <a:pt x="92" y="9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8" y="31"/>
                  </a:lnTo>
                  <a:lnTo>
                    <a:pt x="94" y="40"/>
                  </a:lnTo>
                  <a:lnTo>
                    <a:pt x="103" y="49"/>
                  </a:lnTo>
                  <a:lnTo>
                    <a:pt x="103" y="54"/>
                  </a:lnTo>
                  <a:lnTo>
                    <a:pt x="108" y="54"/>
                  </a:lnTo>
                  <a:lnTo>
                    <a:pt x="113" y="49"/>
                  </a:lnTo>
                  <a:lnTo>
                    <a:pt x="122" y="49"/>
                  </a:lnTo>
                  <a:lnTo>
                    <a:pt x="127" y="44"/>
                  </a:lnTo>
                  <a:lnTo>
                    <a:pt x="127" y="49"/>
                  </a:lnTo>
                  <a:lnTo>
                    <a:pt x="136" y="49"/>
                  </a:lnTo>
                  <a:lnTo>
                    <a:pt x="131" y="53"/>
                  </a:lnTo>
                  <a:lnTo>
                    <a:pt x="127" y="53"/>
                  </a:lnTo>
                  <a:lnTo>
                    <a:pt x="113" y="70"/>
                  </a:lnTo>
                  <a:lnTo>
                    <a:pt x="109" y="70"/>
                  </a:lnTo>
                  <a:lnTo>
                    <a:pt x="94" y="74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7" name="Freeform 125">
              <a:extLst>
                <a:ext uri="{FF2B5EF4-FFF2-40B4-BE49-F238E27FC236}">
                  <a16:creationId xmlns:a16="http://schemas.microsoft.com/office/drawing/2014/main" id="{3DC43748-CD7A-BFE3-432E-D126408CB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7600" y="4516677"/>
              <a:ext cx="648537" cy="377218"/>
            </a:xfrm>
            <a:custGeom>
              <a:avLst/>
              <a:gdLst>
                <a:gd name="T0" fmla="*/ 7032912 w 65"/>
                <a:gd name="T1" fmla="*/ 6829349 h 39"/>
                <a:gd name="T2" fmla="*/ 2242097 w 65"/>
                <a:gd name="T3" fmla="*/ 8283802 h 39"/>
                <a:gd name="T4" fmla="*/ 2242097 w 65"/>
                <a:gd name="T5" fmla="*/ 10105815 h 39"/>
                <a:gd name="T6" fmla="*/ 5617740 w 65"/>
                <a:gd name="T7" fmla="*/ 10105815 h 39"/>
                <a:gd name="T8" fmla="*/ 4111650 w 65"/>
                <a:gd name="T9" fmla="*/ 11486450 h 39"/>
                <a:gd name="T10" fmla="*/ 2242097 w 65"/>
                <a:gd name="T11" fmla="*/ 11486450 h 39"/>
                <a:gd name="T12" fmla="*/ 0 w 65"/>
                <a:gd name="T13" fmla="*/ 14027002 h 39"/>
                <a:gd name="T14" fmla="*/ 1866488 w 65"/>
                <a:gd name="T15" fmla="*/ 14027002 h 39"/>
                <a:gd name="T16" fmla="*/ 3372582 w 65"/>
                <a:gd name="T17" fmla="*/ 12572574 h 39"/>
                <a:gd name="T18" fmla="*/ 5239070 w 65"/>
                <a:gd name="T19" fmla="*/ 14027002 h 39"/>
                <a:gd name="T20" fmla="*/ 6653645 w 65"/>
                <a:gd name="T21" fmla="*/ 12204271 h 39"/>
                <a:gd name="T22" fmla="*/ 8523193 w 65"/>
                <a:gd name="T23" fmla="*/ 14027002 h 39"/>
                <a:gd name="T24" fmla="*/ 8523193 w 65"/>
                <a:gd name="T25" fmla="*/ 12204271 h 39"/>
                <a:gd name="T26" fmla="*/ 10404896 w 65"/>
                <a:gd name="T27" fmla="*/ 12204271 h 39"/>
                <a:gd name="T28" fmla="*/ 10404896 w 65"/>
                <a:gd name="T29" fmla="*/ 14027002 h 39"/>
                <a:gd name="T30" fmla="*/ 11895771 w 65"/>
                <a:gd name="T31" fmla="*/ 14027002 h 39"/>
                <a:gd name="T32" fmla="*/ 17134720 w 65"/>
                <a:gd name="T33" fmla="*/ 12204271 h 39"/>
                <a:gd name="T34" fmla="*/ 17134720 w 65"/>
                <a:gd name="T35" fmla="*/ 10749942 h 39"/>
                <a:gd name="T36" fmla="*/ 22298210 w 65"/>
                <a:gd name="T37" fmla="*/ 9019671 h 39"/>
                <a:gd name="T38" fmla="*/ 22298210 w 65"/>
                <a:gd name="T39" fmla="*/ 7197653 h 39"/>
                <a:gd name="T40" fmla="*/ 24167654 w 65"/>
                <a:gd name="T41" fmla="*/ 3555921 h 39"/>
                <a:gd name="T42" fmla="*/ 18925620 w 65"/>
                <a:gd name="T43" fmla="*/ 2172269 h 39"/>
                <a:gd name="T44" fmla="*/ 18925620 w 65"/>
                <a:gd name="T45" fmla="*/ 0 h 39"/>
                <a:gd name="T46" fmla="*/ 17134720 w 65"/>
                <a:gd name="T47" fmla="*/ 2172269 h 39"/>
                <a:gd name="T48" fmla="*/ 15643961 w 65"/>
                <a:gd name="T49" fmla="*/ 5009755 h 39"/>
                <a:gd name="T50" fmla="*/ 10781124 w 65"/>
                <a:gd name="T51" fmla="*/ 6829349 h 39"/>
                <a:gd name="T52" fmla="*/ 7032912 w 65"/>
                <a:gd name="T53" fmla="*/ 6829349 h 3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39"/>
                <a:gd name="T83" fmla="*/ 65 w 65"/>
                <a:gd name="T84" fmla="*/ 39 h 3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39">
                  <a:moveTo>
                    <a:pt x="19" y="19"/>
                  </a:moveTo>
                  <a:lnTo>
                    <a:pt x="6" y="23"/>
                  </a:lnTo>
                  <a:lnTo>
                    <a:pt x="6" y="28"/>
                  </a:lnTo>
                  <a:lnTo>
                    <a:pt x="15" y="28"/>
                  </a:lnTo>
                  <a:lnTo>
                    <a:pt x="11" y="32"/>
                  </a:lnTo>
                  <a:lnTo>
                    <a:pt x="6" y="32"/>
                  </a:lnTo>
                  <a:lnTo>
                    <a:pt x="0" y="39"/>
                  </a:lnTo>
                  <a:lnTo>
                    <a:pt x="5" y="39"/>
                  </a:lnTo>
                  <a:lnTo>
                    <a:pt x="9" y="35"/>
                  </a:lnTo>
                  <a:lnTo>
                    <a:pt x="14" y="39"/>
                  </a:lnTo>
                  <a:lnTo>
                    <a:pt x="18" y="34"/>
                  </a:lnTo>
                  <a:lnTo>
                    <a:pt x="23" y="39"/>
                  </a:lnTo>
                  <a:lnTo>
                    <a:pt x="23" y="34"/>
                  </a:lnTo>
                  <a:lnTo>
                    <a:pt x="28" y="34"/>
                  </a:lnTo>
                  <a:lnTo>
                    <a:pt x="28" y="39"/>
                  </a:lnTo>
                  <a:lnTo>
                    <a:pt x="32" y="39"/>
                  </a:lnTo>
                  <a:lnTo>
                    <a:pt x="46" y="34"/>
                  </a:lnTo>
                  <a:lnTo>
                    <a:pt x="46" y="30"/>
                  </a:lnTo>
                  <a:lnTo>
                    <a:pt x="60" y="25"/>
                  </a:lnTo>
                  <a:lnTo>
                    <a:pt x="60" y="20"/>
                  </a:lnTo>
                  <a:lnTo>
                    <a:pt x="65" y="10"/>
                  </a:lnTo>
                  <a:lnTo>
                    <a:pt x="51" y="6"/>
                  </a:lnTo>
                  <a:lnTo>
                    <a:pt x="51" y="0"/>
                  </a:lnTo>
                  <a:lnTo>
                    <a:pt x="46" y="6"/>
                  </a:lnTo>
                  <a:lnTo>
                    <a:pt x="42" y="14"/>
                  </a:lnTo>
                  <a:lnTo>
                    <a:pt x="29" y="19"/>
                  </a:lnTo>
                  <a:lnTo>
                    <a:pt x="19" y="19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" name="Freeform 126">
              <a:extLst>
                <a:ext uri="{FF2B5EF4-FFF2-40B4-BE49-F238E27FC236}">
                  <a16:creationId xmlns:a16="http://schemas.microsoft.com/office/drawing/2014/main" id="{00758C63-CA36-2D62-7E4D-BFA64CB7C1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3579" y="4073005"/>
              <a:ext cx="379484" cy="539440"/>
            </a:xfrm>
            <a:custGeom>
              <a:avLst/>
              <a:gdLst>
                <a:gd name="T0" fmla="*/ 14228954 w 38"/>
                <a:gd name="T1" fmla="*/ 2119981 h 56"/>
                <a:gd name="T2" fmla="*/ 10838176 w 38"/>
                <a:gd name="T3" fmla="*/ 0 h 56"/>
                <a:gd name="T4" fmla="*/ 5268181 w 38"/>
                <a:gd name="T5" fmla="*/ 357607 h 56"/>
                <a:gd name="T6" fmla="*/ 5268181 w 38"/>
                <a:gd name="T7" fmla="*/ 9401787 h 56"/>
                <a:gd name="T8" fmla="*/ 3767750 w 38"/>
                <a:gd name="T9" fmla="*/ 12225717 h 56"/>
                <a:gd name="T10" fmla="*/ 2255023 w 38"/>
                <a:gd name="T11" fmla="*/ 12225717 h 56"/>
                <a:gd name="T12" fmla="*/ 377592 w 38"/>
                <a:gd name="T13" fmla="*/ 13917932 h 56"/>
                <a:gd name="T14" fmla="*/ 0 w 38"/>
                <a:gd name="T15" fmla="*/ 16038035 h 56"/>
                <a:gd name="T16" fmla="*/ 0 w 38"/>
                <a:gd name="T17" fmla="*/ 18431211 h 56"/>
                <a:gd name="T18" fmla="*/ 5268181 w 38"/>
                <a:gd name="T19" fmla="*/ 19492647 h 56"/>
                <a:gd name="T20" fmla="*/ 9340692 w 38"/>
                <a:gd name="T21" fmla="*/ 15680428 h 56"/>
                <a:gd name="T22" fmla="*/ 9340692 w 38"/>
                <a:gd name="T23" fmla="*/ 13917932 h 56"/>
                <a:gd name="T24" fmla="*/ 12731468 w 38"/>
                <a:gd name="T25" fmla="*/ 10806664 h 56"/>
                <a:gd name="T26" fmla="*/ 12731468 w 38"/>
                <a:gd name="T27" fmla="*/ 7625156 h 56"/>
                <a:gd name="T28" fmla="*/ 14228954 w 38"/>
                <a:gd name="T29" fmla="*/ 2119981 h 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56"/>
                <a:gd name="T47" fmla="*/ 38 w 38"/>
                <a:gd name="T48" fmla="*/ 56 h 5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56">
                  <a:moveTo>
                    <a:pt x="38" y="6"/>
                  </a:moveTo>
                  <a:lnTo>
                    <a:pt x="29" y="0"/>
                  </a:lnTo>
                  <a:lnTo>
                    <a:pt x="14" y="1"/>
                  </a:lnTo>
                  <a:lnTo>
                    <a:pt x="14" y="27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1" y="40"/>
                  </a:lnTo>
                  <a:lnTo>
                    <a:pt x="0" y="46"/>
                  </a:lnTo>
                  <a:lnTo>
                    <a:pt x="0" y="53"/>
                  </a:lnTo>
                  <a:lnTo>
                    <a:pt x="14" y="56"/>
                  </a:lnTo>
                  <a:lnTo>
                    <a:pt x="25" y="45"/>
                  </a:lnTo>
                  <a:lnTo>
                    <a:pt x="25" y="40"/>
                  </a:lnTo>
                  <a:lnTo>
                    <a:pt x="34" y="31"/>
                  </a:lnTo>
                  <a:lnTo>
                    <a:pt x="34" y="22"/>
                  </a:lnTo>
                  <a:lnTo>
                    <a:pt x="38" y="6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Freeform 127">
              <a:extLst>
                <a:ext uri="{FF2B5EF4-FFF2-40B4-BE49-F238E27FC236}">
                  <a16:creationId xmlns:a16="http://schemas.microsoft.com/office/drawing/2014/main" id="{967FD59A-B38C-5CCE-70FE-0BBE5CC65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6114" y="3471021"/>
              <a:ext cx="1776952" cy="1362282"/>
            </a:xfrm>
            <a:custGeom>
              <a:avLst/>
              <a:gdLst>
                <a:gd name="T0" fmla="*/ 0 w 179"/>
                <a:gd name="T1" fmla="*/ 32813589 h 141"/>
                <a:gd name="T2" fmla="*/ 1811165 w 179"/>
                <a:gd name="T3" fmla="*/ 27840313 h 141"/>
                <a:gd name="T4" fmla="*/ 8588316 w 179"/>
                <a:gd name="T5" fmla="*/ 24599176 h 141"/>
                <a:gd name="T6" fmla="*/ 11772528 w 179"/>
                <a:gd name="T7" fmla="*/ 22426870 h 141"/>
                <a:gd name="T8" fmla="*/ 18198486 w 179"/>
                <a:gd name="T9" fmla="*/ 24599176 h 141"/>
                <a:gd name="T10" fmla="*/ 21808716 w 179"/>
                <a:gd name="T11" fmla="*/ 18896695 h 141"/>
                <a:gd name="T12" fmla="*/ 20009522 w 179"/>
                <a:gd name="T13" fmla="*/ 17450554 h 141"/>
                <a:gd name="T14" fmla="*/ 21808716 w 179"/>
                <a:gd name="T15" fmla="*/ 10679286 h 141"/>
                <a:gd name="T16" fmla="*/ 24260413 w 179"/>
                <a:gd name="T17" fmla="*/ 6420126 h 141"/>
                <a:gd name="T18" fmla="*/ 24260413 w 179"/>
                <a:gd name="T19" fmla="*/ 3182037 h 141"/>
                <a:gd name="T20" fmla="*/ 25708134 w 179"/>
                <a:gd name="T21" fmla="*/ 1809229 h 141"/>
                <a:gd name="T22" fmla="*/ 29241389 w 179"/>
                <a:gd name="T23" fmla="*/ 3182037 h 141"/>
                <a:gd name="T24" fmla="*/ 30689248 w 179"/>
                <a:gd name="T25" fmla="*/ 3182037 h 141"/>
                <a:gd name="T26" fmla="*/ 40721803 w 179"/>
                <a:gd name="T27" fmla="*/ 0 h 141"/>
                <a:gd name="T28" fmla="*/ 42461771 w 179"/>
                <a:gd name="T29" fmla="*/ 3182037 h 141"/>
                <a:gd name="T30" fmla="*/ 43906605 w 179"/>
                <a:gd name="T31" fmla="*/ 1809229 h 141"/>
                <a:gd name="T32" fmla="*/ 50698142 w 179"/>
                <a:gd name="T33" fmla="*/ 4976307 h 141"/>
                <a:gd name="T34" fmla="*/ 55679138 w 179"/>
                <a:gd name="T35" fmla="*/ 7863355 h 141"/>
                <a:gd name="T36" fmla="*/ 62104968 w 179"/>
                <a:gd name="T37" fmla="*/ 12110548 h 141"/>
                <a:gd name="T38" fmla="*/ 63918554 w 179"/>
                <a:gd name="T39" fmla="*/ 13919801 h 141"/>
                <a:gd name="T40" fmla="*/ 58923161 w 179"/>
                <a:gd name="T41" fmla="*/ 17101837 h 141"/>
                <a:gd name="T42" fmla="*/ 60734296 w 179"/>
                <a:gd name="T43" fmla="*/ 20339919 h 141"/>
                <a:gd name="T44" fmla="*/ 55679138 w 179"/>
                <a:gd name="T45" fmla="*/ 22426870 h 141"/>
                <a:gd name="T46" fmla="*/ 53942165 w 179"/>
                <a:gd name="T47" fmla="*/ 34552391 h 141"/>
                <a:gd name="T48" fmla="*/ 50698142 w 179"/>
                <a:gd name="T49" fmla="*/ 36346656 h 141"/>
                <a:gd name="T50" fmla="*/ 48520786 w 179"/>
                <a:gd name="T51" fmla="*/ 40679957 h 141"/>
                <a:gd name="T52" fmla="*/ 42461771 w 179"/>
                <a:gd name="T53" fmla="*/ 45290289 h 141"/>
                <a:gd name="T54" fmla="*/ 34295993 w 179"/>
                <a:gd name="T55" fmla="*/ 46733958 h 141"/>
                <a:gd name="T56" fmla="*/ 29241389 w 179"/>
                <a:gd name="T57" fmla="*/ 48472167 h 141"/>
                <a:gd name="T58" fmla="*/ 25708134 w 179"/>
                <a:gd name="T59" fmla="*/ 50267163 h 141"/>
                <a:gd name="T60" fmla="*/ 24260413 w 179"/>
                <a:gd name="T61" fmla="*/ 47100076 h 141"/>
                <a:gd name="T62" fmla="*/ 23911990 w 179"/>
                <a:gd name="T63" fmla="*/ 42049646 h 141"/>
                <a:gd name="T64" fmla="*/ 21442376 w 179"/>
                <a:gd name="T65" fmla="*/ 40679957 h 141"/>
                <a:gd name="T66" fmla="*/ 20360842 w 179"/>
                <a:gd name="T67" fmla="*/ 32813589 h 141"/>
                <a:gd name="T68" fmla="*/ 12138849 w 179"/>
                <a:gd name="T69" fmla="*/ 34259849 h 141"/>
                <a:gd name="T70" fmla="*/ 5347299 w 179"/>
                <a:gd name="T71" fmla="*/ 32813589 h 14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9"/>
                <a:gd name="T109" fmla="*/ 0 h 141"/>
                <a:gd name="T110" fmla="*/ 179 w 179"/>
                <a:gd name="T111" fmla="*/ 141 h 14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9" h="141">
                  <a:moveTo>
                    <a:pt x="10" y="87"/>
                  </a:moveTo>
                  <a:lnTo>
                    <a:pt x="0" y="92"/>
                  </a:lnTo>
                  <a:lnTo>
                    <a:pt x="1" y="83"/>
                  </a:lnTo>
                  <a:lnTo>
                    <a:pt x="5" y="78"/>
                  </a:lnTo>
                  <a:lnTo>
                    <a:pt x="10" y="69"/>
                  </a:lnTo>
                  <a:lnTo>
                    <a:pt x="24" y="69"/>
                  </a:lnTo>
                  <a:lnTo>
                    <a:pt x="28" y="69"/>
                  </a:lnTo>
                  <a:lnTo>
                    <a:pt x="33" y="63"/>
                  </a:lnTo>
                  <a:lnTo>
                    <a:pt x="43" y="69"/>
                  </a:lnTo>
                  <a:lnTo>
                    <a:pt x="51" y="69"/>
                  </a:lnTo>
                  <a:lnTo>
                    <a:pt x="61" y="58"/>
                  </a:lnTo>
                  <a:lnTo>
                    <a:pt x="61" y="53"/>
                  </a:lnTo>
                  <a:lnTo>
                    <a:pt x="56" y="53"/>
                  </a:lnTo>
                  <a:lnTo>
                    <a:pt x="56" y="49"/>
                  </a:lnTo>
                  <a:lnTo>
                    <a:pt x="61" y="44"/>
                  </a:lnTo>
                  <a:cubicBezTo>
                    <a:pt x="61" y="40"/>
                    <a:pt x="61" y="35"/>
                    <a:pt x="61" y="30"/>
                  </a:cubicBezTo>
                  <a:lnTo>
                    <a:pt x="68" y="23"/>
                  </a:lnTo>
                  <a:lnTo>
                    <a:pt x="68" y="18"/>
                  </a:lnTo>
                  <a:lnTo>
                    <a:pt x="63" y="14"/>
                  </a:lnTo>
                  <a:lnTo>
                    <a:pt x="68" y="9"/>
                  </a:lnTo>
                  <a:lnTo>
                    <a:pt x="72" y="9"/>
                  </a:lnTo>
                  <a:lnTo>
                    <a:pt x="72" y="5"/>
                  </a:lnTo>
                  <a:lnTo>
                    <a:pt x="77" y="9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105" y="0"/>
                  </a:lnTo>
                  <a:lnTo>
                    <a:pt x="114" y="0"/>
                  </a:lnTo>
                  <a:lnTo>
                    <a:pt x="114" y="5"/>
                  </a:lnTo>
                  <a:lnTo>
                    <a:pt x="119" y="9"/>
                  </a:lnTo>
                  <a:lnTo>
                    <a:pt x="123" y="9"/>
                  </a:lnTo>
                  <a:lnTo>
                    <a:pt x="123" y="5"/>
                  </a:lnTo>
                  <a:lnTo>
                    <a:pt x="133" y="9"/>
                  </a:lnTo>
                  <a:lnTo>
                    <a:pt x="142" y="14"/>
                  </a:lnTo>
                  <a:lnTo>
                    <a:pt x="151" y="14"/>
                  </a:lnTo>
                  <a:lnTo>
                    <a:pt x="156" y="22"/>
                  </a:lnTo>
                  <a:lnTo>
                    <a:pt x="170" y="29"/>
                  </a:lnTo>
                  <a:lnTo>
                    <a:pt x="174" y="34"/>
                  </a:lnTo>
                  <a:lnTo>
                    <a:pt x="179" y="34"/>
                  </a:lnTo>
                  <a:lnTo>
                    <a:pt x="179" y="39"/>
                  </a:lnTo>
                  <a:lnTo>
                    <a:pt x="175" y="38"/>
                  </a:lnTo>
                  <a:lnTo>
                    <a:pt x="165" y="48"/>
                  </a:lnTo>
                  <a:lnTo>
                    <a:pt x="165" y="52"/>
                  </a:lnTo>
                  <a:lnTo>
                    <a:pt x="170" y="57"/>
                  </a:lnTo>
                  <a:lnTo>
                    <a:pt x="170" y="62"/>
                  </a:lnTo>
                  <a:lnTo>
                    <a:pt x="156" y="63"/>
                  </a:lnTo>
                  <a:lnTo>
                    <a:pt x="155" y="89"/>
                  </a:lnTo>
                  <a:lnTo>
                    <a:pt x="151" y="97"/>
                  </a:lnTo>
                  <a:lnTo>
                    <a:pt x="147" y="97"/>
                  </a:lnTo>
                  <a:lnTo>
                    <a:pt x="142" y="102"/>
                  </a:lnTo>
                  <a:lnTo>
                    <a:pt x="141" y="108"/>
                  </a:lnTo>
                  <a:lnTo>
                    <a:pt x="136" y="114"/>
                  </a:lnTo>
                  <a:lnTo>
                    <a:pt x="132" y="122"/>
                  </a:lnTo>
                  <a:lnTo>
                    <a:pt x="119" y="127"/>
                  </a:lnTo>
                  <a:lnTo>
                    <a:pt x="109" y="127"/>
                  </a:lnTo>
                  <a:lnTo>
                    <a:pt x="96" y="131"/>
                  </a:lnTo>
                  <a:lnTo>
                    <a:pt x="91" y="136"/>
                  </a:lnTo>
                  <a:lnTo>
                    <a:pt x="82" y="136"/>
                  </a:lnTo>
                  <a:lnTo>
                    <a:pt x="77" y="141"/>
                  </a:lnTo>
                  <a:lnTo>
                    <a:pt x="72" y="141"/>
                  </a:lnTo>
                  <a:lnTo>
                    <a:pt x="72" y="136"/>
                  </a:lnTo>
                  <a:lnTo>
                    <a:pt x="68" y="132"/>
                  </a:lnTo>
                  <a:lnTo>
                    <a:pt x="63" y="127"/>
                  </a:lnTo>
                  <a:lnTo>
                    <a:pt x="67" y="118"/>
                  </a:lnTo>
                  <a:lnTo>
                    <a:pt x="63" y="118"/>
                  </a:lnTo>
                  <a:lnTo>
                    <a:pt x="60" y="114"/>
                  </a:lnTo>
                  <a:lnTo>
                    <a:pt x="61" y="96"/>
                  </a:lnTo>
                  <a:lnTo>
                    <a:pt x="57" y="92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29" y="92"/>
                  </a:lnTo>
                  <a:lnTo>
                    <a:pt x="15" y="92"/>
                  </a:lnTo>
                  <a:lnTo>
                    <a:pt x="10" y="87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0" name="Freeform 128">
              <a:extLst>
                <a:ext uri="{FF2B5EF4-FFF2-40B4-BE49-F238E27FC236}">
                  <a16:creationId xmlns:a16="http://schemas.microsoft.com/office/drawing/2014/main" id="{363C943E-5646-B3FD-A2D0-317B77211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0910" y="2585636"/>
              <a:ext cx="1477782" cy="1546005"/>
            </a:xfrm>
            <a:custGeom>
              <a:avLst/>
              <a:gdLst>
                <a:gd name="T0" fmla="*/ 1787857 w 149"/>
                <a:gd name="T1" fmla="*/ 11402107 h 160"/>
                <a:gd name="T2" fmla="*/ 0 w 149"/>
                <a:gd name="T3" fmla="*/ 15373855 h 160"/>
                <a:gd name="T4" fmla="*/ 1787857 w 149"/>
                <a:gd name="T5" fmla="*/ 17110416 h 160"/>
                <a:gd name="T6" fmla="*/ 1787857 w 149"/>
                <a:gd name="T7" fmla="*/ 20352714 h 160"/>
                <a:gd name="T8" fmla="*/ 3514252 w 149"/>
                <a:gd name="T9" fmla="*/ 21797114 h 160"/>
                <a:gd name="T10" fmla="*/ 2149801 w 149"/>
                <a:gd name="T11" fmla="*/ 24250993 h 160"/>
                <a:gd name="T12" fmla="*/ 3514252 w 149"/>
                <a:gd name="T13" fmla="*/ 27505403 h 160"/>
                <a:gd name="T14" fmla="*/ 2149801 w 149"/>
                <a:gd name="T15" fmla="*/ 29226974 h 160"/>
                <a:gd name="T16" fmla="*/ 3514252 w 149"/>
                <a:gd name="T17" fmla="*/ 34279900 h 160"/>
                <a:gd name="T18" fmla="*/ 4225697 w 149"/>
                <a:gd name="T19" fmla="*/ 36382555 h 160"/>
                <a:gd name="T20" fmla="*/ 11692541 w 149"/>
                <a:gd name="T21" fmla="*/ 32833082 h 160"/>
                <a:gd name="T22" fmla="*/ 14844852 w 149"/>
                <a:gd name="T23" fmla="*/ 34645994 h 160"/>
                <a:gd name="T24" fmla="*/ 18432372 w 149"/>
                <a:gd name="T25" fmla="*/ 36016303 h 160"/>
                <a:gd name="T26" fmla="*/ 24825705 w 149"/>
                <a:gd name="T27" fmla="*/ 37826327 h 160"/>
                <a:gd name="T28" fmla="*/ 29777807 w 149"/>
                <a:gd name="T29" fmla="*/ 41069367 h 160"/>
                <a:gd name="T30" fmla="*/ 36518240 w 149"/>
                <a:gd name="T31" fmla="*/ 44967047 h 160"/>
                <a:gd name="T32" fmla="*/ 38247039 w 149"/>
                <a:gd name="T33" fmla="*/ 46777527 h 160"/>
                <a:gd name="T34" fmla="*/ 34733406 w 149"/>
                <a:gd name="T35" fmla="*/ 48135871 h 160"/>
                <a:gd name="T36" fmla="*/ 32930711 w 149"/>
                <a:gd name="T37" fmla="*/ 51390281 h 160"/>
                <a:gd name="T38" fmla="*/ 34733406 w 149"/>
                <a:gd name="T39" fmla="*/ 54922293 h 160"/>
                <a:gd name="T40" fmla="*/ 41108903 w 149"/>
                <a:gd name="T41" fmla="*/ 54922293 h 160"/>
                <a:gd name="T42" fmla="*/ 42911588 w 149"/>
                <a:gd name="T43" fmla="*/ 44967047 h 160"/>
                <a:gd name="T44" fmla="*/ 44622624 w 149"/>
                <a:gd name="T45" fmla="*/ 27505403 h 160"/>
                <a:gd name="T46" fmla="*/ 46425340 w 149"/>
                <a:gd name="T47" fmla="*/ 24980453 h 160"/>
                <a:gd name="T48" fmla="*/ 51015962 w 149"/>
                <a:gd name="T49" fmla="*/ 21797114 h 160"/>
                <a:gd name="T50" fmla="*/ 51015962 w 149"/>
                <a:gd name="T51" fmla="*/ 18557688 h 160"/>
                <a:gd name="T52" fmla="*/ 49651409 w 149"/>
                <a:gd name="T53" fmla="*/ 13563959 h 160"/>
                <a:gd name="T54" fmla="*/ 51015962 w 149"/>
                <a:gd name="T55" fmla="*/ 6789469 h 160"/>
                <a:gd name="T56" fmla="*/ 45713880 w 149"/>
                <a:gd name="T57" fmla="*/ 3183226 h 160"/>
                <a:gd name="T58" fmla="*/ 42546611 w 149"/>
                <a:gd name="T59" fmla="*/ 0 h 160"/>
                <a:gd name="T60" fmla="*/ 37594657 w 149"/>
                <a:gd name="T61" fmla="*/ 3183226 h 160"/>
                <a:gd name="T62" fmla="*/ 34368469 w 149"/>
                <a:gd name="T63" fmla="*/ 4978855 h 160"/>
                <a:gd name="T64" fmla="*/ 32930711 w 149"/>
                <a:gd name="T65" fmla="*/ 1080570 h 160"/>
                <a:gd name="T66" fmla="*/ 27978016 w 149"/>
                <a:gd name="T67" fmla="*/ 4264404 h 160"/>
                <a:gd name="T68" fmla="*/ 16647538 w 149"/>
                <a:gd name="T69" fmla="*/ 7870039 h 160"/>
                <a:gd name="T70" fmla="*/ 11692541 w 149"/>
                <a:gd name="T71" fmla="*/ 11035983 h 160"/>
                <a:gd name="T72" fmla="*/ 8540232 w 149"/>
                <a:gd name="T73" fmla="*/ 13563959 h 160"/>
                <a:gd name="T74" fmla="*/ 4952099 w 149"/>
                <a:gd name="T75" fmla="*/ 9606476 h 16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9"/>
                <a:gd name="T115" fmla="*/ 0 h 160"/>
                <a:gd name="T116" fmla="*/ 149 w 149"/>
                <a:gd name="T117" fmla="*/ 160 h 16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9" h="160">
                  <a:moveTo>
                    <a:pt x="14" y="27"/>
                  </a:moveTo>
                  <a:lnTo>
                    <a:pt x="5" y="32"/>
                  </a:lnTo>
                  <a:lnTo>
                    <a:pt x="5" y="38"/>
                  </a:lnTo>
                  <a:lnTo>
                    <a:pt x="0" y="43"/>
                  </a:lnTo>
                  <a:lnTo>
                    <a:pt x="9" y="47"/>
                  </a:lnTo>
                  <a:lnTo>
                    <a:pt x="5" y="48"/>
                  </a:lnTo>
                  <a:lnTo>
                    <a:pt x="5" y="52"/>
                  </a:lnTo>
                  <a:lnTo>
                    <a:pt x="5" y="57"/>
                  </a:lnTo>
                  <a:lnTo>
                    <a:pt x="5" y="61"/>
                  </a:lnTo>
                  <a:lnTo>
                    <a:pt x="10" y="61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6" y="70"/>
                  </a:lnTo>
                  <a:lnTo>
                    <a:pt x="10" y="77"/>
                  </a:lnTo>
                  <a:lnTo>
                    <a:pt x="6" y="77"/>
                  </a:lnTo>
                  <a:lnTo>
                    <a:pt x="6" y="82"/>
                  </a:lnTo>
                  <a:lnTo>
                    <a:pt x="10" y="92"/>
                  </a:lnTo>
                  <a:lnTo>
                    <a:pt x="10" y="96"/>
                  </a:lnTo>
                  <a:lnTo>
                    <a:pt x="10" y="101"/>
                  </a:lnTo>
                  <a:lnTo>
                    <a:pt x="12" y="102"/>
                  </a:lnTo>
                  <a:lnTo>
                    <a:pt x="14" y="101"/>
                  </a:lnTo>
                  <a:lnTo>
                    <a:pt x="33" y="92"/>
                  </a:lnTo>
                  <a:lnTo>
                    <a:pt x="42" y="92"/>
                  </a:lnTo>
                  <a:lnTo>
                    <a:pt x="42" y="97"/>
                  </a:lnTo>
                  <a:lnTo>
                    <a:pt x="47" y="101"/>
                  </a:lnTo>
                  <a:lnTo>
                    <a:pt x="52" y="101"/>
                  </a:lnTo>
                  <a:lnTo>
                    <a:pt x="52" y="97"/>
                  </a:lnTo>
                  <a:lnTo>
                    <a:pt x="70" y="106"/>
                  </a:lnTo>
                  <a:lnTo>
                    <a:pt x="79" y="105"/>
                  </a:lnTo>
                  <a:lnTo>
                    <a:pt x="84" y="115"/>
                  </a:lnTo>
                  <a:lnTo>
                    <a:pt x="98" y="121"/>
                  </a:lnTo>
                  <a:lnTo>
                    <a:pt x="103" y="126"/>
                  </a:lnTo>
                  <a:lnTo>
                    <a:pt x="108" y="126"/>
                  </a:lnTo>
                  <a:lnTo>
                    <a:pt x="108" y="131"/>
                  </a:lnTo>
                  <a:lnTo>
                    <a:pt x="103" y="131"/>
                  </a:lnTo>
                  <a:lnTo>
                    <a:pt x="98" y="135"/>
                  </a:lnTo>
                  <a:lnTo>
                    <a:pt x="93" y="140"/>
                  </a:lnTo>
                  <a:lnTo>
                    <a:pt x="93" y="144"/>
                  </a:lnTo>
                  <a:lnTo>
                    <a:pt x="98" y="149"/>
                  </a:lnTo>
                  <a:lnTo>
                    <a:pt x="98" y="154"/>
                  </a:lnTo>
                  <a:lnTo>
                    <a:pt x="108" y="160"/>
                  </a:lnTo>
                  <a:lnTo>
                    <a:pt x="116" y="154"/>
                  </a:lnTo>
                  <a:lnTo>
                    <a:pt x="116" y="144"/>
                  </a:lnTo>
                  <a:lnTo>
                    <a:pt x="121" y="126"/>
                  </a:lnTo>
                  <a:cubicBezTo>
                    <a:pt x="121" y="112"/>
                    <a:pt x="121" y="96"/>
                    <a:pt x="121" y="82"/>
                  </a:cubicBezTo>
                  <a:lnTo>
                    <a:pt x="126" y="77"/>
                  </a:lnTo>
                  <a:lnTo>
                    <a:pt x="126" y="70"/>
                  </a:lnTo>
                  <a:lnTo>
                    <a:pt x="131" y="70"/>
                  </a:lnTo>
                  <a:lnTo>
                    <a:pt x="135" y="70"/>
                  </a:lnTo>
                  <a:lnTo>
                    <a:pt x="144" y="61"/>
                  </a:lnTo>
                  <a:lnTo>
                    <a:pt x="149" y="52"/>
                  </a:lnTo>
                  <a:lnTo>
                    <a:pt x="144" y="52"/>
                  </a:lnTo>
                  <a:lnTo>
                    <a:pt x="144" y="47"/>
                  </a:lnTo>
                  <a:lnTo>
                    <a:pt x="140" y="38"/>
                  </a:lnTo>
                  <a:lnTo>
                    <a:pt x="144" y="38"/>
                  </a:lnTo>
                  <a:cubicBezTo>
                    <a:pt x="144" y="32"/>
                    <a:pt x="144" y="25"/>
                    <a:pt x="144" y="19"/>
                  </a:cubicBezTo>
                  <a:lnTo>
                    <a:pt x="134" y="9"/>
                  </a:lnTo>
                  <a:lnTo>
                    <a:pt x="129" y="9"/>
                  </a:lnTo>
                  <a:lnTo>
                    <a:pt x="125" y="5"/>
                  </a:lnTo>
                  <a:lnTo>
                    <a:pt x="120" y="0"/>
                  </a:lnTo>
                  <a:lnTo>
                    <a:pt x="111" y="9"/>
                  </a:lnTo>
                  <a:lnTo>
                    <a:pt x="106" y="9"/>
                  </a:lnTo>
                  <a:lnTo>
                    <a:pt x="101" y="13"/>
                  </a:lnTo>
                  <a:lnTo>
                    <a:pt x="97" y="14"/>
                  </a:lnTo>
                  <a:lnTo>
                    <a:pt x="92" y="9"/>
                  </a:lnTo>
                  <a:lnTo>
                    <a:pt x="93" y="3"/>
                  </a:lnTo>
                  <a:lnTo>
                    <a:pt x="89" y="3"/>
                  </a:lnTo>
                  <a:lnTo>
                    <a:pt x="79" y="12"/>
                  </a:lnTo>
                  <a:cubicBezTo>
                    <a:pt x="69" y="12"/>
                    <a:pt x="57" y="12"/>
                    <a:pt x="47" y="12"/>
                  </a:cubicBezTo>
                  <a:lnTo>
                    <a:pt x="47" y="22"/>
                  </a:lnTo>
                  <a:lnTo>
                    <a:pt x="42" y="31"/>
                  </a:lnTo>
                  <a:lnTo>
                    <a:pt x="33" y="31"/>
                  </a:lnTo>
                  <a:lnTo>
                    <a:pt x="33" y="38"/>
                  </a:lnTo>
                  <a:lnTo>
                    <a:pt x="24" y="38"/>
                  </a:lnTo>
                  <a:lnTo>
                    <a:pt x="20" y="27"/>
                  </a:lnTo>
                  <a:lnTo>
                    <a:pt x="14" y="27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1" name="Freeform 129">
              <a:extLst>
                <a:ext uri="{FF2B5EF4-FFF2-40B4-BE49-F238E27FC236}">
                  <a16:creationId xmlns:a16="http://schemas.microsoft.com/office/drawing/2014/main" id="{7E02B8D8-7826-C024-86F3-9B87694F7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7247" y="1651387"/>
              <a:ext cx="927629" cy="1309511"/>
            </a:xfrm>
            <a:custGeom>
              <a:avLst/>
              <a:gdLst>
                <a:gd name="T0" fmla="*/ 1863594 w 93"/>
                <a:gd name="T1" fmla="*/ 43032130 h 136"/>
                <a:gd name="T2" fmla="*/ 4102451 w 93"/>
                <a:gd name="T3" fmla="*/ 43032130 h 136"/>
                <a:gd name="T4" fmla="*/ 5606083 w 93"/>
                <a:gd name="T5" fmla="*/ 46833275 h 136"/>
                <a:gd name="T6" fmla="*/ 8882715 w 93"/>
                <a:gd name="T7" fmla="*/ 47190148 h 136"/>
                <a:gd name="T8" fmla="*/ 8882715 w 93"/>
                <a:gd name="T9" fmla="*/ 44445277 h 136"/>
                <a:gd name="T10" fmla="*/ 12249936 w 93"/>
                <a:gd name="T11" fmla="*/ 44445277 h 136"/>
                <a:gd name="T12" fmla="*/ 14114130 w 93"/>
                <a:gd name="T13" fmla="*/ 41273312 h 136"/>
                <a:gd name="T14" fmla="*/ 14114130 w 93"/>
                <a:gd name="T15" fmla="*/ 37826242 h 136"/>
                <a:gd name="T16" fmla="*/ 25985981 w 93"/>
                <a:gd name="T17" fmla="*/ 37826242 h 136"/>
                <a:gd name="T18" fmla="*/ 29262484 w 93"/>
                <a:gd name="T19" fmla="*/ 35068937 h 136"/>
                <a:gd name="T20" fmla="*/ 30766140 w 93"/>
                <a:gd name="T21" fmla="*/ 33310720 h 136"/>
                <a:gd name="T22" fmla="*/ 32629837 w 93"/>
                <a:gd name="T23" fmla="*/ 33310720 h 136"/>
                <a:gd name="T24" fmla="*/ 34118291 w 93"/>
                <a:gd name="T25" fmla="*/ 29506107 h 136"/>
                <a:gd name="T26" fmla="*/ 34493415 w 93"/>
                <a:gd name="T27" fmla="*/ 25002310 h 136"/>
                <a:gd name="T28" fmla="*/ 32629837 w 93"/>
                <a:gd name="T29" fmla="*/ 21485757 h 136"/>
                <a:gd name="T30" fmla="*/ 31141403 w 93"/>
                <a:gd name="T31" fmla="*/ 16340480 h 136"/>
                <a:gd name="T32" fmla="*/ 31141403 w 93"/>
                <a:gd name="T33" fmla="*/ 9721437 h 136"/>
                <a:gd name="T34" fmla="*/ 29262484 w 93"/>
                <a:gd name="T35" fmla="*/ 4161621 h 136"/>
                <a:gd name="T36" fmla="*/ 30766140 w 93"/>
                <a:gd name="T37" fmla="*/ 2744877 h 136"/>
                <a:gd name="T38" fmla="*/ 29262484 w 93"/>
                <a:gd name="T39" fmla="*/ 2744877 h 136"/>
                <a:gd name="T40" fmla="*/ 27474436 w 93"/>
                <a:gd name="T41" fmla="*/ 0 h 136"/>
                <a:gd name="T42" fmla="*/ 25610698 w 93"/>
                <a:gd name="T43" fmla="*/ 2402669 h 136"/>
                <a:gd name="T44" fmla="*/ 24122284 w 93"/>
                <a:gd name="T45" fmla="*/ 4161621 h 136"/>
                <a:gd name="T46" fmla="*/ 22243484 w 93"/>
                <a:gd name="T47" fmla="*/ 4161621 h 136"/>
                <a:gd name="T48" fmla="*/ 20755045 w 93"/>
                <a:gd name="T49" fmla="*/ 6975956 h 136"/>
                <a:gd name="T50" fmla="*/ 20379911 w 93"/>
                <a:gd name="T51" fmla="*/ 14225241 h 136"/>
                <a:gd name="T52" fmla="*/ 19269552 w 93"/>
                <a:gd name="T53" fmla="*/ 15281358 h 136"/>
                <a:gd name="T54" fmla="*/ 18891328 w 93"/>
                <a:gd name="T55" fmla="*/ 19085478 h 136"/>
                <a:gd name="T56" fmla="*/ 20379911 w 93"/>
                <a:gd name="T57" fmla="*/ 19085478 h 136"/>
                <a:gd name="T58" fmla="*/ 20379911 w 93"/>
                <a:gd name="T59" fmla="*/ 22530169 h 136"/>
                <a:gd name="T60" fmla="*/ 11874782 w 93"/>
                <a:gd name="T61" fmla="*/ 22887062 h 136"/>
                <a:gd name="T62" fmla="*/ 8507456 w 93"/>
                <a:gd name="T63" fmla="*/ 25705002 h 136"/>
                <a:gd name="T64" fmla="*/ 5230944 w 93"/>
                <a:gd name="T65" fmla="*/ 27390878 h 136"/>
                <a:gd name="T66" fmla="*/ 3367354 w 93"/>
                <a:gd name="T67" fmla="*/ 31552365 h 136"/>
                <a:gd name="T68" fmla="*/ 1863594 w 93"/>
                <a:gd name="T69" fmla="*/ 34366836 h 136"/>
                <a:gd name="T70" fmla="*/ 1863594 w 93"/>
                <a:gd name="T71" fmla="*/ 37469329 h 136"/>
                <a:gd name="T72" fmla="*/ 0 w 93"/>
                <a:gd name="T73" fmla="*/ 41273312 h 136"/>
                <a:gd name="T74" fmla="*/ 1863594 w 93"/>
                <a:gd name="T75" fmla="*/ 43032130 h 1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3"/>
                <a:gd name="T115" fmla="*/ 0 h 136"/>
                <a:gd name="T116" fmla="*/ 93 w 93"/>
                <a:gd name="T117" fmla="*/ 136 h 1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3" h="136">
                  <a:moveTo>
                    <a:pt x="5" y="124"/>
                  </a:moveTo>
                  <a:lnTo>
                    <a:pt x="11" y="124"/>
                  </a:lnTo>
                  <a:lnTo>
                    <a:pt x="15" y="135"/>
                  </a:lnTo>
                  <a:lnTo>
                    <a:pt x="24" y="136"/>
                  </a:lnTo>
                  <a:lnTo>
                    <a:pt x="24" y="128"/>
                  </a:lnTo>
                  <a:lnTo>
                    <a:pt x="33" y="128"/>
                  </a:lnTo>
                  <a:lnTo>
                    <a:pt x="38" y="119"/>
                  </a:lnTo>
                  <a:lnTo>
                    <a:pt x="38" y="109"/>
                  </a:lnTo>
                  <a:lnTo>
                    <a:pt x="70" y="109"/>
                  </a:lnTo>
                  <a:lnTo>
                    <a:pt x="79" y="101"/>
                  </a:lnTo>
                  <a:lnTo>
                    <a:pt x="83" y="96"/>
                  </a:lnTo>
                  <a:lnTo>
                    <a:pt x="88" y="96"/>
                  </a:lnTo>
                  <a:lnTo>
                    <a:pt x="92" y="85"/>
                  </a:lnTo>
                  <a:lnTo>
                    <a:pt x="93" y="72"/>
                  </a:lnTo>
                  <a:lnTo>
                    <a:pt x="88" y="62"/>
                  </a:lnTo>
                  <a:lnTo>
                    <a:pt x="84" y="47"/>
                  </a:lnTo>
                  <a:lnTo>
                    <a:pt x="84" y="28"/>
                  </a:lnTo>
                  <a:lnTo>
                    <a:pt x="79" y="12"/>
                  </a:lnTo>
                  <a:lnTo>
                    <a:pt x="83" y="8"/>
                  </a:lnTo>
                  <a:lnTo>
                    <a:pt x="79" y="8"/>
                  </a:lnTo>
                  <a:lnTo>
                    <a:pt x="74" y="0"/>
                  </a:lnTo>
                  <a:lnTo>
                    <a:pt x="69" y="7"/>
                  </a:lnTo>
                  <a:lnTo>
                    <a:pt x="65" y="12"/>
                  </a:lnTo>
                  <a:lnTo>
                    <a:pt x="60" y="12"/>
                  </a:lnTo>
                  <a:lnTo>
                    <a:pt x="56" y="20"/>
                  </a:lnTo>
                  <a:lnTo>
                    <a:pt x="55" y="41"/>
                  </a:lnTo>
                  <a:lnTo>
                    <a:pt x="52" y="44"/>
                  </a:lnTo>
                  <a:lnTo>
                    <a:pt x="51" y="55"/>
                  </a:lnTo>
                  <a:lnTo>
                    <a:pt x="55" y="55"/>
                  </a:lnTo>
                  <a:lnTo>
                    <a:pt x="55" y="65"/>
                  </a:lnTo>
                  <a:lnTo>
                    <a:pt x="32" y="66"/>
                  </a:lnTo>
                  <a:lnTo>
                    <a:pt x="23" y="74"/>
                  </a:lnTo>
                  <a:lnTo>
                    <a:pt x="14" y="79"/>
                  </a:lnTo>
                  <a:lnTo>
                    <a:pt x="9" y="91"/>
                  </a:lnTo>
                  <a:lnTo>
                    <a:pt x="5" y="99"/>
                  </a:lnTo>
                  <a:lnTo>
                    <a:pt x="5" y="108"/>
                  </a:lnTo>
                  <a:lnTo>
                    <a:pt x="0" y="119"/>
                  </a:lnTo>
                  <a:lnTo>
                    <a:pt x="5" y="124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Freeform 130">
              <a:extLst>
                <a:ext uri="{FF2B5EF4-FFF2-40B4-BE49-F238E27FC236}">
                  <a16:creationId xmlns:a16="http://schemas.microsoft.com/office/drawing/2014/main" id="{73EA3D3A-E11C-8D96-6418-25412CABB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597" y="2413641"/>
              <a:ext cx="1202705" cy="635211"/>
            </a:xfrm>
            <a:custGeom>
              <a:avLst/>
              <a:gdLst>
                <a:gd name="T0" fmla="*/ 43638812 w 121"/>
                <a:gd name="T1" fmla="*/ 13830905 h 66"/>
                <a:gd name="T2" fmla="*/ 21635073 w 121"/>
                <a:gd name="T3" fmla="*/ 5903797 h 66"/>
                <a:gd name="T4" fmla="*/ 1457016 w 121"/>
                <a:gd name="T5" fmla="*/ 0 h 66"/>
                <a:gd name="T6" fmla="*/ 1825718 w 121"/>
                <a:gd name="T7" fmla="*/ 2110825 h 66"/>
                <a:gd name="T8" fmla="*/ 0 w 121"/>
                <a:gd name="T9" fmla="*/ 4490298 h 66"/>
                <a:gd name="T10" fmla="*/ 6490379 w 121"/>
                <a:gd name="T11" fmla="*/ 10735823 h 66"/>
                <a:gd name="T12" fmla="*/ 6490379 w 121"/>
                <a:gd name="T13" fmla="*/ 14187204 h 66"/>
                <a:gd name="T14" fmla="*/ 10126273 w 121"/>
                <a:gd name="T15" fmla="*/ 14187204 h 66"/>
                <a:gd name="T16" fmla="*/ 13334524 w 121"/>
                <a:gd name="T17" fmla="*/ 17264706 h 66"/>
                <a:gd name="T18" fmla="*/ 16616647 w 121"/>
                <a:gd name="T19" fmla="*/ 17264706 h 66"/>
                <a:gd name="T20" fmla="*/ 20178062 w 121"/>
                <a:gd name="T21" fmla="*/ 14187204 h 66"/>
                <a:gd name="T22" fmla="*/ 21635073 w 121"/>
                <a:gd name="T23" fmla="*/ 14187204 h 66"/>
                <a:gd name="T24" fmla="*/ 21635073 w 121"/>
                <a:gd name="T25" fmla="*/ 22812202 h 66"/>
                <a:gd name="T26" fmla="*/ 31761358 w 121"/>
                <a:gd name="T27" fmla="*/ 22812202 h 66"/>
                <a:gd name="T28" fmla="*/ 34969601 w 121"/>
                <a:gd name="T29" fmla="*/ 21413974 h 66"/>
                <a:gd name="T30" fmla="*/ 36794699 w 121"/>
                <a:gd name="T31" fmla="*/ 19731839 h 66"/>
                <a:gd name="T32" fmla="*/ 38620431 w 121"/>
                <a:gd name="T33" fmla="*/ 19731839 h 66"/>
                <a:gd name="T34" fmla="*/ 43638812 w 121"/>
                <a:gd name="T35" fmla="*/ 13830905 h 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1"/>
                <a:gd name="T55" fmla="*/ 0 h 66"/>
                <a:gd name="T56" fmla="*/ 121 w 121"/>
                <a:gd name="T57" fmla="*/ 66 h 6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1" h="66">
                  <a:moveTo>
                    <a:pt x="121" y="40"/>
                  </a:moveTo>
                  <a:lnTo>
                    <a:pt x="60" y="17"/>
                  </a:lnTo>
                  <a:lnTo>
                    <a:pt x="4" y="0"/>
                  </a:lnTo>
                  <a:lnTo>
                    <a:pt x="5" y="6"/>
                  </a:lnTo>
                  <a:lnTo>
                    <a:pt x="0" y="13"/>
                  </a:lnTo>
                  <a:cubicBezTo>
                    <a:pt x="6" y="19"/>
                    <a:pt x="13" y="25"/>
                    <a:pt x="18" y="31"/>
                  </a:cubicBezTo>
                  <a:lnTo>
                    <a:pt x="18" y="41"/>
                  </a:lnTo>
                  <a:lnTo>
                    <a:pt x="28" y="41"/>
                  </a:lnTo>
                  <a:lnTo>
                    <a:pt x="37" y="50"/>
                  </a:lnTo>
                  <a:lnTo>
                    <a:pt x="46" y="50"/>
                  </a:lnTo>
                  <a:lnTo>
                    <a:pt x="56" y="41"/>
                  </a:lnTo>
                  <a:lnTo>
                    <a:pt x="60" y="41"/>
                  </a:lnTo>
                  <a:lnTo>
                    <a:pt x="60" y="66"/>
                  </a:lnTo>
                  <a:cubicBezTo>
                    <a:pt x="70" y="66"/>
                    <a:pt x="79" y="66"/>
                    <a:pt x="88" y="66"/>
                  </a:cubicBezTo>
                  <a:lnTo>
                    <a:pt x="97" y="62"/>
                  </a:lnTo>
                  <a:lnTo>
                    <a:pt x="102" y="57"/>
                  </a:lnTo>
                  <a:lnTo>
                    <a:pt x="107" y="57"/>
                  </a:lnTo>
                  <a:lnTo>
                    <a:pt x="121" y="40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Freeform 131">
              <a:extLst>
                <a:ext uri="{FF2B5EF4-FFF2-40B4-BE49-F238E27FC236}">
                  <a16:creationId xmlns:a16="http://schemas.microsoft.com/office/drawing/2014/main" id="{B815E1EF-A657-4896-CE6E-5F7F56DBB4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5228" y="384875"/>
              <a:ext cx="1019990" cy="1051518"/>
            </a:xfrm>
            <a:custGeom>
              <a:avLst/>
              <a:gdLst>
                <a:gd name="T0" fmla="*/ 24496571 w 103"/>
                <a:gd name="T1" fmla="*/ 0 h 109"/>
                <a:gd name="T2" fmla="*/ 27677045 w 103"/>
                <a:gd name="T3" fmla="*/ 0 h 109"/>
                <a:gd name="T4" fmla="*/ 29390593 w 103"/>
                <a:gd name="T5" fmla="*/ 1778179 h 109"/>
                <a:gd name="T6" fmla="*/ 27677045 w 103"/>
                <a:gd name="T7" fmla="*/ 3497568 h 109"/>
                <a:gd name="T8" fmla="*/ 29390593 w 103"/>
                <a:gd name="T9" fmla="*/ 5999150 h 109"/>
                <a:gd name="T10" fmla="*/ 31161628 w 103"/>
                <a:gd name="T11" fmla="*/ 7416962 h 109"/>
                <a:gd name="T12" fmla="*/ 31161628 w 103"/>
                <a:gd name="T13" fmla="*/ 8776700 h 109"/>
                <a:gd name="T14" fmla="*/ 29390593 w 103"/>
                <a:gd name="T15" fmla="*/ 10554871 h 109"/>
                <a:gd name="T16" fmla="*/ 29390593 w 103"/>
                <a:gd name="T17" fmla="*/ 17263226 h 109"/>
                <a:gd name="T18" fmla="*/ 31161628 w 103"/>
                <a:gd name="T19" fmla="*/ 19694225 h 109"/>
                <a:gd name="T20" fmla="*/ 34284614 w 103"/>
                <a:gd name="T21" fmla="*/ 22902121 h 109"/>
                <a:gd name="T22" fmla="*/ 36055630 w 103"/>
                <a:gd name="T23" fmla="*/ 22902121 h 109"/>
                <a:gd name="T24" fmla="*/ 36055630 w 103"/>
                <a:gd name="T25" fmla="*/ 27832272 h 109"/>
                <a:gd name="T26" fmla="*/ 31161628 w 103"/>
                <a:gd name="T27" fmla="*/ 27832272 h 109"/>
                <a:gd name="T28" fmla="*/ 29390593 w 103"/>
                <a:gd name="T29" fmla="*/ 29264418 h 109"/>
                <a:gd name="T30" fmla="*/ 29390593 w 103"/>
                <a:gd name="T31" fmla="*/ 30969611 h 109"/>
                <a:gd name="T32" fmla="*/ 27677045 w 103"/>
                <a:gd name="T33" fmla="*/ 30969611 h 109"/>
                <a:gd name="T34" fmla="*/ 24496571 w 103"/>
                <a:gd name="T35" fmla="*/ 35249365 h 109"/>
                <a:gd name="T36" fmla="*/ 22783024 w 103"/>
                <a:gd name="T37" fmla="*/ 32762562 h 109"/>
                <a:gd name="T38" fmla="*/ 19590797 w 103"/>
                <a:gd name="T39" fmla="*/ 35249365 h 109"/>
                <a:gd name="T40" fmla="*/ 19590797 w 103"/>
                <a:gd name="T41" fmla="*/ 38386566 h 109"/>
                <a:gd name="T42" fmla="*/ 17892016 w 103"/>
                <a:gd name="T43" fmla="*/ 38386566 h 109"/>
                <a:gd name="T44" fmla="*/ 13631683 w 103"/>
                <a:gd name="T45" fmla="*/ 35612619 h 109"/>
                <a:gd name="T46" fmla="*/ 14696806 w 103"/>
                <a:gd name="T47" fmla="*/ 35249365 h 109"/>
                <a:gd name="T48" fmla="*/ 14696806 w 103"/>
                <a:gd name="T49" fmla="*/ 30969611 h 109"/>
                <a:gd name="T50" fmla="*/ 11571403 w 103"/>
                <a:gd name="T51" fmla="*/ 19694225 h 109"/>
                <a:gd name="T52" fmla="*/ 8375588 w 103"/>
                <a:gd name="T53" fmla="*/ 17263226 h 109"/>
                <a:gd name="T54" fmla="*/ 5253204 w 103"/>
                <a:gd name="T55" fmla="*/ 17263226 h 109"/>
                <a:gd name="T56" fmla="*/ 5253204 w 103"/>
                <a:gd name="T57" fmla="*/ 15485042 h 109"/>
                <a:gd name="T58" fmla="*/ 3484584 w 103"/>
                <a:gd name="T59" fmla="*/ 14055315 h 109"/>
                <a:gd name="T60" fmla="*/ 3484584 w 103"/>
                <a:gd name="T61" fmla="*/ 10554871 h 109"/>
                <a:gd name="T62" fmla="*/ 0 w 103"/>
                <a:gd name="T63" fmla="*/ 8776700 h 109"/>
                <a:gd name="T64" fmla="*/ 0 w 103"/>
                <a:gd name="T65" fmla="*/ 7416962 h 109"/>
                <a:gd name="T66" fmla="*/ 3484584 w 103"/>
                <a:gd name="T67" fmla="*/ 7416962 h 109"/>
                <a:gd name="T68" fmla="*/ 5253204 w 103"/>
                <a:gd name="T69" fmla="*/ 8776700 h 109"/>
                <a:gd name="T70" fmla="*/ 8375588 w 103"/>
                <a:gd name="T71" fmla="*/ 8776700 h 109"/>
                <a:gd name="T72" fmla="*/ 11571403 w 103"/>
                <a:gd name="T73" fmla="*/ 10554871 h 109"/>
                <a:gd name="T74" fmla="*/ 11571403 w 103"/>
                <a:gd name="T75" fmla="*/ 8776700 h 109"/>
                <a:gd name="T76" fmla="*/ 14696806 w 103"/>
                <a:gd name="T77" fmla="*/ 7416962 h 109"/>
                <a:gd name="T78" fmla="*/ 17892016 w 103"/>
                <a:gd name="T79" fmla="*/ 7416962 h 109"/>
                <a:gd name="T80" fmla="*/ 19590797 w 103"/>
                <a:gd name="T81" fmla="*/ 5999150 h 109"/>
                <a:gd name="T82" fmla="*/ 22783024 w 103"/>
                <a:gd name="T83" fmla="*/ 5999150 h 109"/>
                <a:gd name="T84" fmla="*/ 26267607 w 103"/>
                <a:gd name="T85" fmla="*/ 1778179 h 109"/>
                <a:gd name="T86" fmla="*/ 24496571 w 103"/>
                <a:gd name="T87" fmla="*/ 0 h 10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3"/>
                <a:gd name="T133" fmla="*/ 0 h 109"/>
                <a:gd name="T134" fmla="*/ 103 w 103"/>
                <a:gd name="T135" fmla="*/ 109 h 10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3" h="109">
                  <a:moveTo>
                    <a:pt x="70" y="0"/>
                  </a:moveTo>
                  <a:lnTo>
                    <a:pt x="79" y="0"/>
                  </a:lnTo>
                  <a:lnTo>
                    <a:pt x="84" y="5"/>
                  </a:lnTo>
                  <a:lnTo>
                    <a:pt x="79" y="10"/>
                  </a:lnTo>
                  <a:lnTo>
                    <a:pt x="84" y="17"/>
                  </a:lnTo>
                  <a:lnTo>
                    <a:pt x="89" y="21"/>
                  </a:lnTo>
                  <a:lnTo>
                    <a:pt x="89" y="25"/>
                  </a:lnTo>
                  <a:lnTo>
                    <a:pt x="84" y="30"/>
                  </a:lnTo>
                  <a:cubicBezTo>
                    <a:pt x="84" y="36"/>
                    <a:pt x="84" y="43"/>
                    <a:pt x="84" y="49"/>
                  </a:cubicBezTo>
                  <a:lnTo>
                    <a:pt x="89" y="56"/>
                  </a:lnTo>
                  <a:lnTo>
                    <a:pt x="98" y="65"/>
                  </a:lnTo>
                  <a:lnTo>
                    <a:pt x="103" y="65"/>
                  </a:lnTo>
                  <a:lnTo>
                    <a:pt x="103" y="79"/>
                  </a:lnTo>
                  <a:lnTo>
                    <a:pt x="89" y="79"/>
                  </a:lnTo>
                  <a:lnTo>
                    <a:pt x="84" y="83"/>
                  </a:lnTo>
                  <a:lnTo>
                    <a:pt x="84" y="88"/>
                  </a:lnTo>
                  <a:lnTo>
                    <a:pt x="79" y="88"/>
                  </a:lnTo>
                  <a:lnTo>
                    <a:pt x="70" y="100"/>
                  </a:lnTo>
                  <a:lnTo>
                    <a:pt x="65" y="93"/>
                  </a:lnTo>
                  <a:lnTo>
                    <a:pt x="56" y="100"/>
                  </a:lnTo>
                  <a:lnTo>
                    <a:pt x="56" y="109"/>
                  </a:lnTo>
                  <a:lnTo>
                    <a:pt x="51" y="109"/>
                  </a:lnTo>
                  <a:lnTo>
                    <a:pt x="39" y="101"/>
                  </a:lnTo>
                  <a:lnTo>
                    <a:pt x="42" y="100"/>
                  </a:lnTo>
                  <a:lnTo>
                    <a:pt x="42" y="88"/>
                  </a:lnTo>
                  <a:lnTo>
                    <a:pt x="33" y="56"/>
                  </a:lnTo>
                  <a:lnTo>
                    <a:pt x="24" y="49"/>
                  </a:lnTo>
                  <a:lnTo>
                    <a:pt x="15" y="49"/>
                  </a:lnTo>
                  <a:lnTo>
                    <a:pt x="15" y="44"/>
                  </a:lnTo>
                  <a:lnTo>
                    <a:pt x="10" y="40"/>
                  </a:lnTo>
                  <a:lnTo>
                    <a:pt x="10" y="30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0" y="21"/>
                  </a:lnTo>
                  <a:lnTo>
                    <a:pt x="15" y="25"/>
                  </a:lnTo>
                  <a:lnTo>
                    <a:pt x="24" y="25"/>
                  </a:lnTo>
                  <a:lnTo>
                    <a:pt x="33" y="30"/>
                  </a:lnTo>
                  <a:lnTo>
                    <a:pt x="33" y="25"/>
                  </a:lnTo>
                  <a:lnTo>
                    <a:pt x="42" y="21"/>
                  </a:lnTo>
                  <a:lnTo>
                    <a:pt x="51" y="21"/>
                  </a:lnTo>
                  <a:lnTo>
                    <a:pt x="56" y="17"/>
                  </a:lnTo>
                  <a:lnTo>
                    <a:pt x="65" y="17"/>
                  </a:lnTo>
                  <a:lnTo>
                    <a:pt x="75" y="5"/>
                  </a:lnTo>
                  <a:lnTo>
                    <a:pt x="70" y="0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Freeform 132">
              <a:extLst>
                <a:ext uri="{FF2B5EF4-FFF2-40B4-BE49-F238E27FC236}">
                  <a16:creationId xmlns:a16="http://schemas.microsoft.com/office/drawing/2014/main" id="{0B9885FB-3FC7-FCB1-9707-A24E2F343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5219" y="810954"/>
              <a:ext cx="2066083" cy="1938857"/>
            </a:xfrm>
            <a:custGeom>
              <a:avLst/>
              <a:gdLst>
                <a:gd name="T0" fmla="*/ 0 w 208"/>
                <a:gd name="T1" fmla="*/ 7065454 h 201"/>
                <a:gd name="T2" fmla="*/ 4999075 w 208"/>
                <a:gd name="T3" fmla="*/ 5636259 h 201"/>
                <a:gd name="T4" fmla="*/ 8267031 w 208"/>
                <a:gd name="T5" fmla="*/ 4204649 h 201"/>
                <a:gd name="T6" fmla="*/ 15802759 w 208"/>
                <a:gd name="T7" fmla="*/ 1431609 h 201"/>
                <a:gd name="T8" fmla="*/ 23996065 w 208"/>
                <a:gd name="T9" fmla="*/ 0 h 201"/>
                <a:gd name="T10" fmla="*/ 25815218 w 208"/>
                <a:gd name="T11" fmla="*/ 4204649 h 201"/>
                <a:gd name="T12" fmla="*/ 30535695 w 208"/>
                <a:gd name="T13" fmla="*/ 5636259 h 201"/>
                <a:gd name="T14" fmla="*/ 34082855 w 208"/>
                <a:gd name="T15" fmla="*/ 13700044 h 201"/>
                <a:gd name="T16" fmla="*/ 37350819 w 208"/>
                <a:gd name="T17" fmla="*/ 19322106 h 201"/>
                <a:gd name="T18" fmla="*/ 40533753 w 208"/>
                <a:gd name="T19" fmla="*/ 22891316 h 201"/>
                <a:gd name="T20" fmla="*/ 38729144 w 208"/>
                <a:gd name="T21" fmla="*/ 24320506 h 201"/>
                <a:gd name="T22" fmla="*/ 45547227 w 208"/>
                <a:gd name="T23" fmla="*/ 21114343 h 201"/>
                <a:gd name="T24" fmla="*/ 47348966 w 208"/>
                <a:gd name="T25" fmla="*/ 22891316 h 201"/>
                <a:gd name="T26" fmla="*/ 45547227 w 208"/>
                <a:gd name="T27" fmla="*/ 24320506 h 201"/>
                <a:gd name="T28" fmla="*/ 48800766 w 208"/>
                <a:gd name="T29" fmla="*/ 24320506 h 201"/>
                <a:gd name="T30" fmla="*/ 50617504 w 208"/>
                <a:gd name="T31" fmla="*/ 26027417 h 201"/>
                <a:gd name="T32" fmla="*/ 52362371 w 208"/>
                <a:gd name="T33" fmla="*/ 26027417 h 201"/>
                <a:gd name="T34" fmla="*/ 55615989 w 208"/>
                <a:gd name="T35" fmla="*/ 24320506 h 201"/>
                <a:gd name="T36" fmla="*/ 53814883 w 208"/>
                <a:gd name="T37" fmla="*/ 29233461 h 201"/>
                <a:gd name="T38" fmla="*/ 57435656 w 208"/>
                <a:gd name="T39" fmla="*/ 26027417 h 201"/>
                <a:gd name="T40" fmla="*/ 62434695 w 208"/>
                <a:gd name="T41" fmla="*/ 22891316 h 201"/>
                <a:gd name="T42" fmla="*/ 67080866 w 208"/>
                <a:gd name="T43" fmla="*/ 16906819 h 201"/>
                <a:gd name="T44" fmla="*/ 67812881 w 208"/>
                <a:gd name="T45" fmla="*/ 16906819 h 201"/>
                <a:gd name="T46" fmla="*/ 73179035 w 208"/>
                <a:gd name="T47" fmla="*/ 21114343 h 201"/>
                <a:gd name="T48" fmla="*/ 74630993 w 208"/>
                <a:gd name="T49" fmla="*/ 26027417 h 201"/>
                <a:gd name="T50" fmla="*/ 71362336 w 208"/>
                <a:gd name="T51" fmla="*/ 33092745 h 201"/>
                <a:gd name="T52" fmla="*/ 67080866 w 208"/>
                <a:gd name="T53" fmla="*/ 39798011 h 201"/>
                <a:gd name="T54" fmla="*/ 63533746 w 208"/>
                <a:gd name="T55" fmla="*/ 45071235 h 201"/>
                <a:gd name="T56" fmla="*/ 58813249 w 208"/>
                <a:gd name="T57" fmla="*/ 52066560 h 201"/>
                <a:gd name="T58" fmla="*/ 57435656 w 208"/>
                <a:gd name="T59" fmla="*/ 55275585 h 201"/>
                <a:gd name="T60" fmla="*/ 57435656 w 208"/>
                <a:gd name="T61" fmla="*/ 58411726 h 201"/>
                <a:gd name="T62" fmla="*/ 53814883 w 208"/>
                <a:gd name="T63" fmla="*/ 65822408 h 201"/>
                <a:gd name="T64" fmla="*/ 12181887 w 208"/>
                <a:gd name="T65" fmla="*/ 69321630 h 201"/>
                <a:gd name="T66" fmla="*/ 9719582 w 208"/>
                <a:gd name="T67" fmla="*/ 65822408 h 201"/>
                <a:gd name="T68" fmla="*/ 7899925 w 208"/>
                <a:gd name="T69" fmla="*/ 60189152 h 201"/>
                <a:gd name="T70" fmla="*/ 2903883 w 208"/>
                <a:gd name="T71" fmla="*/ 53844026 h 201"/>
                <a:gd name="T72" fmla="*/ 13633825 w 208"/>
                <a:gd name="T73" fmla="*/ 27816747 h 201"/>
                <a:gd name="T74" fmla="*/ 10086668 w 208"/>
                <a:gd name="T75" fmla="*/ 24609973 h 201"/>
                <a:gd name="T76" fmla="*/ 4999075 w 208"/>
                <a:gd name="T77" fmla="*/ 22891316 h 2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8"/>
                <a:gd name="T118" fmla="*/ 0 h 201"/>
                <a:gd name="T119" fmla="*/ 208 w 208"/>
                <a:gd name="T120" fmla="*/ 201 h 2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8" h="201">
                  <a:moveTo>
                    <a:pt x="0" y="48"/>
                  </a:moveTo>
                  <a:lnTo>
                    <a:pt x="0" y="20"/>
                  </a:lnTo>
                  <a:lnTo>
                    <a:pt x="9" y="16"/>
                  </a:lnTo>
                  <a:lnTo>
                    <a:pt x="14" y="16"/>
                  </a:lnTo>
                  <a:lnTo>
                    <a:pt x="18" y="16"/>
                  </a:lnTo>
                  <a:lnTo>
                    <a:pt x="23" y="12"/>
                  </a:lnTo>
                  <a:cubicBezTo>
                    <a:pt x="31" y="12"/>
                    <a:pt x="40" y="12"/>
                    <a:pt x="49" y="12"/>
                  </a:cubicBezTo>
                  <a:lnTo>
                    <a:pt x="44" y="4"/>
                  </a:lnTo>
                  <a:lnTo>
                    <a:pt x="44" y="0"/>
                  </a:lnTo>
                  <a:lnTo>
                    <a:pt x="67" y="0"/>
                  </a:lnTo>
                  <a:lnTo>
                    <a:pt x="67" y="11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5" y="16"/>
                  </a:lnTo>
                  <a:lnTo>
                    <a:pt x="95" y="25"/>
                  </a:lnTo>
                  <a:lnTo>
                    <a:pt x="95" y="39"/>
                  </a:lnTo>
                  <a:lnTo>
                    <a:pt x="100" y="44"/>
                  </a:lnTo>
                  <a:lnTo>
                    <a:pt x="104" y="55"/>
                  </a:lnTo>
                  <a:lnTo>
                    <a:pt x="113" y="60"/>
                  </a:lnTo>
                  <a:lnTo>
                    <a:pt x="113" y="65"/>
                  </a:lnTo>
                  <a:lnTo>
                    <a:pt x="100" y="65"/>
                  </a:lnTo>
                  <a:lnTo>
                    <a:pt x="108" y="69"/>
                  </a:lnTo>
                  <a:lnTo>
                    <a:pt x="122" y="60"/>
                  </a:lnTo>
                  <a:lnTo>
                    <a:pt x="127" y="60"/>
                  </a:lnTo>
                  <a:lnTo>
                    <a:pt x="132" y="60"/>
                  </a:lnTo>
                  <a:lnTo>
                    <a:pt x="132" y="65"/>
                  </a:lnTo>
                  <a:lnTo>
                    <a:pt x="132" y="69"/>
                  </a:lnTo>
                  <a:lnTo>
                    <a:pt x="127" y="69"/>
                  </a:lnTo>
                  <a:lnTo>
                    <a:pt x="132" y="74"/>
                  </a:lnTo>
                  <a:lnTo>
                    <a:pt x="136" y="69"/>
                  </a:lnTo>
                  <a:lnTo>
                    <a:pt x="136" y="74"/>
                  </a:lnTo>
                  <a:lnTo>
                    <a:pt x="141" y="74"/>
                  </a:lnTo>
                  <a:lnTo>
                    <a:pt x="146" y="69"/>
                  </a:lnTo>
                  <a:lnTo>
                    <a:pt x="146" y="74"/>
                  </a:lnTo>
                  <a:lnTo>
                    <a:pt x="150" y="74"/>
                  </a:lnTo>
                  <a:lnTo>
                    <a:pt x="155" y="69"/>
                  </a:lnTo>
                  <a:lnTo>
                    <a:pt x="155" y="74"/>
                  </a:lnTo>
                  <a:lnTo>
                    <a:pt x="150" y="83"/>
                  </a:lnTo>
                  <a:lnTo>
                    <a:pt x="155" y="83"/>
                  </a:lnTo>
                  <a:lnTo>
                    <a:pt x="160" y="74"/>
                  </a:lnTo>
                  <a:lnTo>
                    <a:pt x="169" y="65"/>
                  </a:lnTo>
                  <a:lnTo>
                    <a:pt x="174" y="65"/>
                  </a:lnTo>
                  <a:lnTo>
                    <a:pt x="178" y="55"/>
                  </a:lnTo>
                  <a:lnTo>
                    <a:pt x="187" y="48"/>
                  </a:lnTo>
                  <a:lnTo>
                    <a:pt x="187" y="55"/>
                  </a:lnTo>
                  <a:lnTo>
                    <a:pt x="189" y="48"/>
                  </a:lnTo>
                  <a:lnTo>
                    <a:pt x="199" y="55"/>
                  </a:lnTo>
                  <a:lnTo>
                    <a:pt x="204" y="60"/>
                  </a:lnTo>
                  <a:lnTo>
                    <a:pt x="208" y="60"/>
                  </a:lnTo>
                  <a:lnTo>
                    <a:pt x="208" y="74"/>
                  </a:lnTo>
                  <a:lnTo>
                    <a:pt x="199" y="83"/>
                  </a:lnTo>
                  <a:lnTo>
                    <a:pt x="199" y="94"/>
                  </a:lnTo>
                  <a:lnTo>
                    <a:pt x="194" y="99"/>
                  </a:lnTo>
                  <a:lnTo>
                    <a:pt x="187" y="113"/>
                  </a:lnTo>
                  <a:lnTo>
                    <a:pt x="172" y="123"/>
                  </a:lnTo>
                  <a:lnTo>
                    <a:pt x="177" y="128"/>
                  </a:lnTo>
                  <a:lnTo>
                    <a:pt x="173" y="143"/>
                  </a:lnTo>
                  <a:lnTo>
                    <a:pt x="164" y="148"/>
                  </a:lnTo>
                  <a:lnTo>
                    <a:pt x="160" y="153"/>
                  </a:lnTo>
                  <a:lnTo>
                    <a:pt x="160" y="157"/>
                  </a:lnTo>
                  <a:lnTo>
                    <a:pt x="155" y="162"/>
                  </a:lnTo>
                  <a:lnTo>
                    <a:pt x="160" y="166"/>
                  </a:lnTo>
                  <a:lnTo>
                    <a:pt x="155" y="178"/>
                  </a:lnTo>
                  <a:lnTo>
                    <a:pt x="150" y="187"/>
                  </a:lnTo>
                  <a:lnTo>
                    <a:pt x="141" y="201"/>
                  </a:lnTo>
                  <a:lnTo>
                    <a:pt x="34" y="197"/>
                  </a:lnTo>
                  <a:lnTo>
                    <a:pt x="29" y="192"/>
                  </a:lnTo>
                  <a:lnTo>
                    <a:pt x="27" y="187"/>
                  </a:lnTo>
                  <a:lnTo>
                    <a:pt x="22" y="183"/>
                  </a:lnTo>
                  <a:lnTo>
                    <a:pt x="22" y="171"/>
                  </a:lnTo>
                  <a:lnTo>
                    <a:pt x="14" y="162"/>
                  </a:lnTo>
                  <a:lnTo>
                    <a:pt x="8" y="153"/>
                  </a:lnTo>
                  <a:lnTo>
                    <a:pt x="21" y="122"/>
                  </a:lnTo>
                  <a:lnTo>
                    <a:pt x="38" y="79"/>
                  </a:lnTo>
                  <a:lnTo>
                    <a:pt x="34" y="74"/>
                  </a:lnTo>
                  <a:lnTo>
                    <a:pt x="28" y="70"/>
                  </a:lnTo>
                  <a:lnTo>
                    <a:pt x="23" y="71"/>
                  </a:lnTo>
                  <a:lnTo>
                    <a:pt x="14" y="65"/>
                  </a:lnTo>
                  <a:lnTo>
                    <a:pt x="0" y="48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Freeform 133">
              <a:extLst>
                <a:ext uri="{FF2B5EF4-FFF2-40B4-BE49-F238E27FC236}">
                  <a16:creationId xmlns:a16="http://schemas.microsoft.com/office/drawing/2014/main" id="{1D166297-DD99-C343-E8D8-D0CC539D0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834" y="539279"/>
              <a:ext cx="781055" cy="852158"/>
            </a:xfrm>
            <a:custGeom>
              <a:avLst/>
              <a:gdLst>
                <a:gd name="T0" fmla="*/ 17617651 w 79"/>
                <a:gd name="T1" fmla="*/ 0 h 88"/>
                <a:gd name="T2" fmla="*/ 20712233 w 79"/>
                <a:gd name="T3" fmla="*/ 1463107 h 88"/>
                <a:gd name="T4" fmla="*/ 22463560 w 79"/>
                <a:gd name="T5" fmla="*/ 9822049 h 88"/>
                <a:gd name="T6" fmla="*/ 22463560 w 79"/>
                <a:gd name="T7" fmla="*/ 11655747 h 88"/>
                <a:gd name="T8" fmla="*/ 23861497 w 79"/>
                <a:gd name="T9" fmla="*/ 11655747 h 88"/>
                <a:gd name="T10" fmla="*/ 23861497 w 79"/>
                <a:gd name="T11" fmla="*/ 14509475 h 88"/>
                <a:gd name="T12" fmla="*/ 27297656 w 79"/>
                <a:gd name="T13" fmla="*/ 15975624 h 88"/>
                <a:gd name="T14" fmla="*/ 27297656 w 79"/>
                <a:gd name="T15" fmla="*/ 17808706 h 88"/>
                <a:gd name="T16" fmla="*/ 25543473 w 79"/>
                <a:gd name="T17" fmla="*/ 21033019 h 88"/>
                <a:gd name="T18" fmla="*/ 23861497 w 79"/>
                <a:gd name="T19" fmla="*/ 22498553 h 88"/>
                <a:gd name="T20" fmla="*/ 20712233 w 79"/>
                <a:gd name="T21" fmla="*/ 24332250 h 88"/>
                <a:gd name="T22" fmla="*/ 20712233 w 79"/>
                <a:gd name="T23" fmla="*/ 25797665 h 88"/>
                <a:gd name="T24" fmla="*/ 19371843 w 79"/>
                <a:gd name="T25" fmla="*/ 27630767 h 88"/>
                <a:gd name="T26" fmla="*/ 17617651 w 79"/>
                <a:gd name="T27" fmla="*/ 28001347 h 88"/>
                <a:gd name="T28" fmla="*/ 17261376 w 79"/>
                <a:gd name="T29" fmla="*/ 30115134 h 88"/>
                <a:gd name="T30" fmla="*/ 15935694 w 79"/>
                <a:gd name="T31" fmla="*/ 31951268 h 88"/>
                <a:gd name="T32" fmla="*/ 12771727 w 79"/>
                <a:gd name="T33" fmla="*/ 30115134 h 88"/>
                <a:gd name="T34" fmla="*/ 11373799 w 79"/>
                <a:gd name="T35" fmla="*/ 26535199 h 88"/>
                <a:gd name="T36" fmla="*/ 9691840 w 79"/>
                <a:gd name="T37" fmla="*/ 24332250 h 88"/>
                <a:gd name="T38" fmla="*/ 9335566 w 79"/>
                <a:gd name="T39" fmla="*/ 19274736 h 88"/>
                <a:gd name="T40" fmla="*/ 6243849 w 79"/>
                <a:gd name="T41" fmla="*/ 15975624 h 88"/>
                <a:gd name="T42" fmla="*/ 3094574 w 79"/>
                <a:gd name="T43" fmla="*/ 15975624 h 88"/>
                <a:gd name="T44" fmla="*/ 1754193 w 79"/>
                <a:gd name="T45" fmla="*/ 14509475 h 88"/>
                <a:gd name="T46" fmla="*/ 0 w 79"/>
                <a:gd name="T47" fmla="*/ 14142542 h 88"/>
                <a:gd name="T48" fmla="*/ 0 w 79"/>
                <a:gd name="T49" fmla="*/ 10192643 h 88"/>
                <a:gd name="T50" fmla="*/ 1754193 w 79"/>
                <a:gd name="T51" fmla="*/ 10192643 h 88"/>
                <a:gd name="T52" fmla="*/ 3094574 w 79"/>
                <a:gd name="T53" fmla="*/ 11655747 h 88"/>
                <a:gd name="T54" fmla="*/ 4845910 w 79"/>
                <a:gd name="T55" fmla="*/ 11655747 h 88"/>
                <a:gd name="T56" fmla="*/ 4845910 w 79"/>
                <a:gd name="T57" fmla="*/ 10192643 h 88"/>
                <a:gd name="T58" fmla="*/ 6243849 w 79"/>
                <a:gd name="T59" fmla="*/ 11655747 h 88"/>
                <a:gd name="T60" fmla="*/ 8282065 w 79"/>
                <a:gd name="T61" fmla="*/ 10192643 h 88"/>
                <a:gd name="T62" fmla="*/ 9691840 w 79"/>
                <a:gd name="T63" fmla="*/ 11655747 h 88"/>
                <a:gd name="T64" fmla="*/ 11373799 w 79"/>
                <a:gd name="T65" fmla="*/ 11655747 h 88"/>
                <a:gd name="T66" fmla="*/ 12771727 w 79"/>
                <a:gd name="T67" fmla="*/ 10192643 h 88"/>
                <a:gd name="T68" fmla="*/ 15935694 w 79"/>
                <a:gd name="T69" fmla="*/ 3299113 h 88"/>
                <a:gd name="T70" fmla="*/ 17617651 w 79"/>
                <a:gd name="T71" fmla="*/ 1463107 h 88"/>
                <a:gd name="T72" fmla="*/ 17617651 w 79"/>
                <a:gd name="T73" fmla="*/ 0 h 8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9"/>
                <a:gd name="T112" fmla="*/ 0 h 88"/>
                <a:gd name="T113" fmla="*/ 79 w 79"/>
                <a:gd name="T114" fmla="*/ 88 h 8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9" h="88">
                  <a:moveTo>
                    <a:pt x="51" y="0"/>
                  </a:moveTo>
                  <a:lnTo>
                    <a:pt x="60" y="4"/>
                  </a:lnTo>
                  <a:lnTo>
                    <a:pt x="65" y="27"/>
                  </a:lnTo>
                  <a:lnTo>
                    <a:pt x="65" y="32"/>
                  </a:lnTo>
                  <a:lnTo>
                    <a:pt x="69" y="32"/>
                  </a:lnTo>
                  <a:lnTo>
                    <a:pt x="69" y="40"/>
                  </a:lnTo>
                  <a:lnTo>
                    <a:pt x="79" y="44"/>
                  </a:lnTo>
                  <a:lnTo>
                    <a:pt x="79" y="49"/>
                  </a:lnTo>
                  <a:lnTo>
                    <a:pt x="74" y="58"/>
                  </a:lnTo>
                  <a:lnTo>
                    <a:pt x="69" y="62"/>
                  </a:lnTo>
                  <a:lnTo>
                    <a:pt x="60" y="67"/>
                  </a:lnTo>
                  <a:lnTo>
                    <a:pt x="60" y="71"/>
                  </a:lnTo>
                  <a:lnTo>
                    <a:pt x="56" y="76"/>
                  </a:lnTo>
                  <a:lnTo>
                    <a:pt x="51" y="77"/>
                  </a:lnTo>
                  <a:lnTo>
                    <a:pt x="50" y="83"/>
                  </a:lnTo>
                  <a:lnTo>
                    <a:pt x="46" y="88"/>
                  </a:lnTo>
                  <a:lnTo>
                    <a:pt x="37" y="83"/>
                  </a:lnTo>
                  <a:lnTo>
                    <a:pt x="33" y="73"/>
                  </a:lnTo>
                  <a:lnTo>
                    <a:pt x="28" y="67"/>
                  </a:lnTo>
                  <a:lnTo>
                    <a:pt x="27" y="53"/>
                  </a:lnTo>
                  <a:lnTo>
                    <a:pt x="18" y="44"/>
                  </a:lnTo>
                  <a:lnTo>
                    <a:pt x="9" y="44"/>
                  </a:lnTo>
                  <a:lnTo>
                    <a:pt x="5" y="40"/>
                  </a:lnTo>
                  <a:lnTo>
                    <a:pt x="0" y="39"/>
                  </a:lnTo>
                  <a:lnTo>
                    <a:pt x="0" y="28"/>
                  </a:lnTo>
                  <a:lnTo>
                    <a:pt x="5" y="28"/>
                  </a:lnTo>
                  <a:lnTo>
                    <a:pt x="9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8" y="32"/>
                  </a:lnTo>
                  <a:lnTo>
                    <a:pt x="24" y="28"/>
                  </a:lnTo>
                  <a:lnTo>
                    <a:pt x="28" y="32"/>
                  </a:lnTo>
                  <a:lnTo>
                    <a:pt x="33" y="32"/>
                  </a:lnTo>
                  <a:lnTo>
                    <a:pt x="37" y="28"/>
                  </a:lnTo>
                  <a:lnTo>
                    <a:pt x="46" y="9"/>
                  </a:lnTo>
                  <a:lnTo>
                    <a:pt x="51" y="4"/>
                  </a:lnTo>
                  <a:lnTo>
                    <a:pt x="51" y="0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6" name="Freeform 134">
              <a:extLst>
                <a:ext uri="{FF2B5EF4-FFF2-40B4-BE49-F238E27FC236}">
                  <a16:creationId xmlns:a16="http://schemas.microsoft.com/office/drawing/2014/main" id="{34D707B7-B5D8-1878-E926-2120FE230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5793" y="857864"/>
              <a:ext cx="2786903" cy="1940814"/>
            </a:xfrm>
            <a:custGeom>
              <a:avLst/>
              <a:gdLst>
                <a:gd name="T0" fmla="*/ 1437642 w 281"/>
                <a:gd name="T1" fmla="*/ 55740166 h 201"/>
                <a:gd name="T2" fmla="*/ 2875896 w 281"/>
                <a:gd name="T3" fmla="*/ 52497315 h 201"/>
                <a:gd name="T4" fmla="*/ 4225462 w 281"/>
                <a:gd name="T5" fmla="*/ 47903353 h 201"/>
                <a:gd name="T6" fmla="*/ 14205492 w 281"/>
                <a:gd name="T7" fmla="*/ 41870973 h 201"/>
                <a:gd name="T8" fmla="*/ 20871668 w 281"/>
                <a:gd name="T9" fmla="*/ 40081509 h 201"/>
                <a:gd name="T10" fmla="*/ 24458851 w 281"/>
                <a:gd name="T11" fmla="*/ 23056969 h 201"/>
                <a:gd name="T12" fmla="*/ 22309319 w 281"/>
                <a:gd name="T13" fmla="*/ 19887991 h 201"/>
                <a:gd name="T14" fmla="*/ 19521500 w 281"/>
                <a:gd name="T15" fmla="*/ 12065524 h 201"/>
                <a:gd name="T16" fmla="*/ 24823169 w 281"/>
                <a:gd name="T17" fmla="*/ 12065524 h 201"/>
                <a:gd name="T18" fmla="*/ 21235986 w 281"/>
                <a:gd name="T19" fmla="*/ 9187749 h 201"/>
                <a:gd name="T20" fmla="*/ 30851216 w 281"/>
                <a:gd name="T21" fmla="*/ 5670910 h 201"/>
                <a:gd name="T22" fmla="*/ 31213123 w 281"/>
                <a:gd name="T23" fmla="*/ 4593924 h 201"/>
                <a:gd name="T24" fmla="*/ 35802768 w 281"/>
                <a:gd name="T25" fmla="*/ 2516168 h 201"/>
                <a:gd name="T26" fmla="*/ 37588120 w 281"/>
                <a:gd name="T27" fmla="*/ 7471604 h 201"/>
                <a:gd name="T28" fmla="*/ 41466487 w 281"/>
                <a:gd name="T29" fmla="*/ 10626347 h 201"/>
                <a:gd name="T30" fmla="*/ 44982936 w 281"/>
                <a:gd name="T31" fmla="*/ 8910782 h 201"/>
                <a:gd name="T32" fmla="*/ 46056151 w 281"/>
                <a:gd name="T33" fmla="*/ 10991435 h 201"/>
                <a:gd name="T34" fmla="*/ 48570752 w 281"/>
                <a:gd name="T35" fmla="*/ 7471604 h 201"/>
                <a:gd name="T36" fmla="*/ 58112047 w 281"/>
                <a:gd name="T37" fmla="*/ 0 h 201"/>
                <a:gd name="T38" fmla="*/ 64502021 w 281"/>
                <a:gd name="T39" fmla="*/ 13854870 h 201"/>
                <a:gd name="T40" fmla="*/ 63428727 w 281"/>
                <a:gd name="T41" fmla="*/ 18463140 h 201"/>
                <a:gd name="T42" fmla="*/ 69441758 w 281"/>
                <a:gd name="T43" fmla="*/ 21256270 h 201"/>
                <a:gd name="T44" fmla="*/ 72679620 w 281"/>
                <a:gd name="T45" fmla="*/ 15585367 h 201"/>
                <a:gd name="T46" fmla="*/ 77981244 w 281"/>
                <a:gd name="T47" fmla="*/ 13854870 h 201"/>
                <a:gd name="T48" fmla="*/ 79345060 w 281"/>
                <a:gd name="T49" fmla="*/ 12065524 h 201"/>
                <a:gd name="T50" fmla="*/ 86085007 w 281"/>
                <a:gd name="T51" fmla="*/ 10626347 h 201"/>
                <a:gd name="T52" fmla="*/ 91039681 w 281"/>
                <a:gd name="T53" fmla="*/ 21256270 h 201"/>
                <a:gd name="T54" fmla="*/ 96426422 w 281"/>
                <a:gd name="T55" fmla="*/ 23422175 h 201"/>
                <a:gd name="T56" fmla="*/ 99578534 w 281"/>
                <a:gd name="T57" fmla="*/ 26650126 h 201"/>
                <a:gd name="T58" fmla="*/ 90748527 w 281"/>
                <a:gd name="T59" fmla="*/ 55740166 h 201"/>
                <a:gd name="T60" fmla="*/ 88960823 w 281"/>
                <a:gd name="T61" fmla="*/ 62776216 h 201"/>
                <a:gd name="T62" fmla="*/ 65925348 w 281"/>
                <a:gd name="T63" fmla="*/ 63141442 h 201"/>
                <a:gd name="T64" fmla="*/ 57747749 w 281"/>
                <a:gd name="T65" fmla="*/ 59260029 h 201"/>
                <a:gd name="T66" fmla="*/ 56674455 w 281"/>
                <a:gd name="T67" fmla="*/ 62414744 h 201"/>
                <a:gd name="T68" fmla="*/ 54233710 w 281"/>
                <a:gd name="T69" fmla="*/ 64927893 h 201"/>
                <a:gd name="T70" fmla="*/ 47132488 w 281"/>
                <a:gd name="T71" fmla="*/ 68809385 h 201"/>
                <a:gd name="T72" fmla="*/ 43269049 w 281"/>
                <a:gd name="T73" fmla="*/ 68447163 h 201"/>
                <a:gd name="T74" fmla="*/ 19868589 w 281"/>
                <a:gd name="T75" fmla="*/ 63141442 h 2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1"/>
                <a:gd name="T115" fmla="*/ 0 h 201"/>
                <a:gd name="T116" fmla="*/ 281 w 281"/>
                <a:gd name="T117" fmla="*/ 201 h 20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1" h="201">
                  <a:moveTo>
                    <a:pt x="0" y="161"/>
                  </a:moveTo>
                  <a:lnTo>
                    <a:pt x="4" y="157"/>
                  </a:lnTo>
                  <a:lnTo>
                    <a:pt x="9" y="154"/>
                  </a:lnTo>
                  <a:lnTo>
                    <a:pt x="8" y="148"/>
                  </a:lnTo>
                  <a:lnTo>
                    <a:pt x="12" y="140"/>
                  </a:lnTo>
                  <a:lnTo>
                    <a:pt x="12" y="135"/>
                  </a:lnTo>
                  <a:lnTo>
                    <a:pt x="25" y="117"/>
                  </a:lnTo>
                  <a:lnTo>
                    <a:pt x="40" y="118"/>
                  </a:lnTo>
                  <a:lnTo>
                    <a:pt x="45" y="114"/>
                  </a:lnTo>
                  <a:lnTo>
                    <a:pt x="59" y="113"/>
                  </a:lnTo>
                  <a:lnTo>
                    <a:pt x="59" y="110"/>
                  </a:lnTo>
                  <a:lnTo>
                    <a:pt x="69" y="65"/>
                  </a:lnTo>
                  <a:lnTo>
                    <a:pt x="64" y="61"/>
                  </a:lnTo>
                  <a:lnTo>
                    <a:pt x="63" y="56"/>
                  </a:lnTo>
                  <a:lnTo>
                    <a:pt x="55" y="45"/>
                  </a:lnTo>
                  <a:lnTo>
                    <a:pt x="55" y="34"/>
                  </a:lnTo>
                  <a:lnTo>
                    <a:pt x="65" y="30"/>
                  </a:lnTo>
                  <a:lnTo>
                    <a:pt x="70" y="34"/>
                  </a:lnTo>
                  <a:lnTo>
                    <a:pt x="69" y="26"/>
                  </a:lnTo>
                  <a:lnTo>
                    <a:pt x="60" y="26"/>
                  </a:lnTo>
                  <a:lnTo>
                    <a:pt x="59" y="16"/>
                  </a:lnTo>
                  <a:lnTo>
                    <a:pt x="87" y="16"/>
                  </a:lnTo>
                  <a:lnTo>
                    <a:pt x="85" y="12"/>
                  </a:lnTo>
                  <a:lnTo>
                    <a:pt x="88" y="13"/>
                  </a:lnTo>
                  <a:lnTo>
                    <a:pt x="92" y="15"/>
                  </a:lnTo>
                  <a:lnTo>
                    <a:pt x="101" y="7"/>
                  </a:lnTo>
                  <a:lnTo>
                    <a:pt x="102" y="14"/>
                  </a:lnTo>
                  <a:lnTo>
                    <a:pt x="106" y="21"/>
                  </a:lnTo>
                  <a:lnTo>
                    <a:pt x="111" y="22"/>
                  </a:lnTo>
                  <a:lnTo>
                    <a:pt x="117" y="30"/>
                  </a:lnTo>
                  <a:lnTo>
                    <a:pt x="122" y="27"/>
                  </a:lnTo>
                  <a:lnTo>
                    <a:pt x="127" y="25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45" y="21"/>
                  </a:lnTo>
                  <a:lnTo>
                    <a:pt x="164" y="0"/>
                  </a:lnTo>
                  <a:lnTo>
                    <a:pt x="173" y="7"/>
                  </a:lnTo>
                  <a:lnTo>
                    <a:pt x="182" y="39"/>
                  </a:lnTo>
                  <a:lnTo>
                    <a:pt x="182" y="51"/>
                  </a:lnTo>
                  <a:lnTo>
                    <a:pt x="179" y="52"/>
                  </a:lnTo>
                  <a:lnTo>
                    <a:pt x="192" y="60"/>
                  </a:lnTo>
                  <a:lnTo>
                    <a:pt x="196" y="60"/>
                  </a:lnTo>
                  <a:lnTo>
                    <a:pt x="196" y="51"/>
                  </a:lnTo>
                  <a:lnTo>
                    <a:pt x="205" y="44"/>
                  </a:lnTo>
                  <a:lnTo>
                    <a:pt x="210" y="51"/>
                  </a:lnTo>
                  <a:lnTo>
                    <a:pt x="220" y="39"/>
                  </a:lnTo>
                  <a:lnTo>
                    <a:pt x="224" y="39"/>
                  </a:lnTo>
                  <a:lnTo>
                    <a:pt x="224" y="34"/>
                  </a:lnTo>
                  <a:lnTo>
                    <a:pt x="229" y="30"/>
                  </a:lnTo>
                  <a:lnTo>
                    <a:pt x="243" y="30"/>
                  </a:lnTo>
                  <a:lnTo>
                    <a:pt x="243" y="43"/>
                  </a:lnTo>
                  <a:lnTo>
                    <a:pt x="257" y="60"/>
                  </a:lnTo>
                  <a:lnTo>
                    <a:pt x="266" y="66"/>
                  </a:lnTo>
                  <a:lnTo>
                    <a:pt x="272" y="66"/>
                  </a:lnTo>
                  <a:lnTo>
                    <a:pt x="279" y="70"/>
                  </a:lnTo>
                  <a:lnTo>
                    <a:pt x="281" y="75"/>
                  </a:lnTo>
                  <a:lnTo>
                    <a:pt x="251" y="148"/>
                  </a:lnTo>
                  <a:lnTo>
                    <a:pt x="256" y="157"/>
                  </a:lnTo>
                  <a:lnTo>
                    <a:pt x="251" y="161"/>
                  </a:lnTo>
                  <a:lnTo>
                    <a:pt x="251" y="177"/>
                  </a:lnTo>
                  <a:lnTo>
                    <a:pt x="201" y="183"/>
                  </a:lnTo>
                  <a:lnTo>
                    <a:pt x="186" y="178"/>
                  </a:lnTo>
                  <a:lnTo>
                    <a:pt x="178" y="167"/>
                  </a:lnTo>
                  <a:lnTo>
                    <a:pt x="163" y="167"/>
                  </a:lnTo>
                  <a:lnTo>
                    <a:pt x="164" y="173"/>
                  </a:lnTo>
                  <a:lnTo>
                    <a:pt x="160" y="176"/>
                  </a:lnTo>
                  <a:lnTo>
                    <a:pt x="159" y="183"/>
                  </a:lnTo>
                  <a:lnTo>
                    <a:pt x="153" y="183"/>
                  </a:lnTo>
                  <a:lnTo>
                    <a:pt x="140" y="191"/>
                  </a:lnTo>
                  <a:lnTo>
                    <a:pt x="133" y="194"/>
                  </a:lnTo>
                  <a:lnTo>
                    <a:pt x="127" y="193"/>
                  </a:lnTo>
                  <a:lnTo>
                    <a:pt x="122" y="193"/>
                  </a:lnTo>
                  <a:lnTo>
                    <a:pt x="115" y="201"/>
                  </a:lnTo>
                  <a:lnTo>
                    <a:pt x="56" y="178"/>
                  </a:lnTo>
                  <a:lnTo>
                    <a:pt x="0" y="161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7" name="Freeform 135">
              <a:extLst>
                <a:ext uri="{FF2B5EF4-FFF2-40B4-BE49-F238E27FC236}">
                  <a16:creationId xmlns:a16="http://schemas.microsoft.com/office/drawing/2014/main" id="{3E657A28-C6F9-C3EE-C454-A6C3BD2E74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0149" y="2198645"/>
              <a:ext cx="576253" cy="386990"/>
            </a:xfrm>
            <a:custGeom>
              <a:avLst/>
              <a:gdLst>
                <a:gd name="T0" fmla="*/ 0 w 58"/>
                <a:gd name="T1" fmla="*/ 3281058 h 40"/>
                <a:gd name="T2" fmla="*/ 3272310 w 58"/>
                <a:gd name="T3" fmla="*/ 3281058 h 40"/>
                <a:gd name="T4" fmla="*/ 5004894 w 58"/>
                <a:gd name="T5" fmla="*/ 1824530 h 40"/>
                <a:gd name="T6" fmla="*/ 7558972 w 58"/>
                <a:gd name="T7" fmla="*/ 0 h 40"/>
                <a:gd name="T8" fmla="*/ 7558972 w 58"/>
                <a:gd name="T9" fmla="*/ 1824530 h 40"/>
                <a:gd name="T10" fmla="*/ 5740585 w 58"/>
                <a:gd name="T11" fmla="*/ 3281058 h 40"/>
                <a:gd name="T12" fmla="*/ 5740585 w 58"/>
                <a:gd name="T13" fmla="*/ 5031120 h 40"/>
                <a:gd name="T14" fmla="*/ 9012770 w 58"/>
                <a:gd name="T15" fmla="*/ 5031120 h 40"/>
                <a:gd name="T16" fmla="*/ 10745510 w 58"/>
                <a:gd name="T17" fmla="*/ 6487648 h 40"/>
                <a:gd name="T18" fmla="*/ 10745510 w 58"/>
                <a:gd name="T19" fmla="*/ 5031120 h 40"/>
                <a:gd name="T20" fmla="*/ 12198818 w 58"/>
                <a:gd name="T21" fmla="*/ 3281058 h 40"/>
                <a:gd name="T22" fmla="*/ 20478954 w 58"/>
                <a:gd name="T23" fmla="*/ 3634626 h 40"/>
                <a:gd name="T24" fmla="*/ 20847011 w 58"/>
                <a:gd name="T25" fmla="*/ 9031423 h 40"/>
                <a:gd name="T26" fmla="*/ 16924945 w 58"/>
                <a:gd name="T27" fmla="*/ 10122273 h 40"/>
                <a:gd name="T28" fmla="*/ 10466714 w 58"/>
                <a:gd name="T29" fmla="*/ 12591563 h 40"/>
                <a:gd name="T30" fmla="*/ 8647716 w 58"/>
                <a:gd name="T31" fmla="*/ 14416092 h 40"/>
                <a:gd name="T32" fmla="*/ 7194408 w 58"/>
                <a:gd name="T33" fmla="*/ 14416092 h 40"/>
                <a:gd name="T34" fmla="*/ 6826320 w 58"/>
                <a:gd name="T35" fmla="*/ 12591563 h 40"/>
                <a:gd name="T36" fmla="*/ 8647716 w 58"/>
                <a:gd name="T37" fmla="*/ 8665751 h 40"/>
                <a:gd name="T38" fmla="*/ 7194408 w 58"/>
                <a:gd name="T39" fmla="*/ 8665751 h 40"/>
                <a:gd name="T40" fmla="*/ 4286667 w 58"/>
                <a:gd name="T41" fmla="*/ 10122273 h 40"/>
                <a:gd name="T42" fmla="*/ 0 w 58"/>
                <a:gd name="T43" fmla="*/ 10122273 h 40"/>
                <a:gd name="T44" fmla="*/ 0 w 58"/>
                <a:gd name="T45" fmla="*/ 3281058 h 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8"/>
                <a:gd name="T70" fmla="*/ 0 h 40"/>
                <a:gd name="T71" fmla="*/ 58 w 58"/>
                <a:gd name="T72" fmla="*/ 40 h 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8" h="40">
                  <a:moveTo>
                    <a:pt x="0" y="9"/>
                  </a:moveTo>
                  <a:lnTo>
                    <a:pt x="9" y="9"/>
                  </a:lnTo>
                  <a:lnTo>
                    <a:pt x="14" y="5"/>
                  </a:lnTo>
                  <a:lnTo>
                    <a:pt x="21" y="0"/>
                  </a:lnTo>
                  <a:lnTo>
                    <a:pt x="21" y="5"/>
                  </a:lnTo>
                  <a:lnTo>
                    <a:pt x="16" y="9"/>
                  </a:lnTo>
                  <a:lnTo>
                    <a:pt x="16" y="14"/>
                  </a:lnTo>
                  <a:lnTo>
                    <a:pt x="25" y="14"/>
                  </a:lnTo>
                  <a:lnTo>
                    <a:pt x="30" y="18"/>
                  </a:lnTo>
                  <a:lnTo>
                    <a:pt x="30" y="14"/>
                  </a:lnTo>
                  <a:lnTo>
                    <a:pt x="34" y="9"/>
                  </a:lnTo>
                  <a:lnTo>
                    <a:pt x="57" y="10"/>
                  </a:lnTo>
                  <a:lnTo>
                    <a:pt x="58" y="25"/>
                  </a:lnTo>
                  <a:lnTo>
                    <a:pt x="47" y="28"/>
                  </a:lnTo>
                  <a:lnTo>
                    <a:pt x="29" y="35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19" y="35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12" y="28"/>
                  </a:lnTo>
                  <a:lnTo>
                    <a:pt x="0" y="28"/>
                  </a:lnTo>
                  <a:lnTo>
                    <a:pt x="0" y="9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8" name="Freeform 136">
              <a:extLst>
                <a:ext uri="{FF2B5EF4-FFF2-40B4-BE49-F238E27FC236}">
                  <a16:creationId xmlns:a16="http://schemas.microsoft.com/office/drawing/2014/main" id="{291DF936-D11A-2B86-4EA3-F25AAAD4C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8336" y="2769359"/>
              <a:ext cx="248974" cy="316629"/>
            </a:xfrm>
            <a:custGeom>
              <a:avLst/>
              <a:gdLst>
                <a:gd name="T0" fmla="*/ 1473810 w 25"/>
                <a:gd name="T1" fmla="*/ 11127524 h 33"/>
                <a:gd name="T2" fmla="*/ 3320403 w 25"/>
                <a:gd name="T3" fmla="*/ 11127524 h 33"/>
                <a:gd name="T4" fmla="*/ 4437047 w 25"/>
                <a:gd name="T5" fmla="*/ 8453119 h 33"/>
                <a:gd name="T6" fmla="*/ 9156075 w 25"/>
                <a:gd name="T7" fmla="*/ 7081854 h 33"/>
                <a:gd name="T8" fmla="*/ 7310098 w 25"/>
                <a:gd name="T9" fmla="*/ 3022350 h 33"/>
                <a:gd name="T10" fmla="*/ 1845983 w 25"/>
                <a:gd name="T11" fmla="*/ 0 h 33"/>
                <a:gd name="T12" fmla="*/ 1473810 w 25"/>
                <a:gd name="T13" fmla="*/ 6394861 h 33"/>
                <a:gd name="T14" fmla="*/ 0 w 25"/>
                <a:gd name="T15" fmla="*/ 6731090 h 33"/>
                <a:gd name="T16" fmla="*/ 1473810 w 25"/>
                <a:gd name="T17" fmla="*/ 9420028 h 33"/>
                <a:gd name="T18" fmla="*/ 1473810 w 25"/>
                <a:gd name="T19" fmla="*/ 11127524 h 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3"/>
                <a:gd name="T32" fmla="*/ 25 w 25"/>
                <a:gd name="T33" fmla="*/ 33 h 3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3">
                  <a:moveTo>
                    <a:pt x="4" y="33"/>
                  </a:moveTo>
                  <a:lnTo>
                    <a:pt x="9" y="33"/>
                  </a:lnTo>
                  <a:lnTo>
                    <a:pt x="12" y="25"/>
                  </a:lnTo>
                  <a:lnTo>
                    <a:pt x="25" y="21"/>
                  </a:lnTo>
                  <a:lnTo>
                    <a:pt x="20" y="9"/>
                  </a:lnTo>
                  <a:lnTo>
                    <a:pt x="5" y="0"/>
                  </a:lnTo>
                  <a:lnTo>
                    <a:pt x="4" y="19"/>
                  </a:lnTo>
                  <a:lnTo>
                    <a:pt x="0" y="20"/>
                  </a:lnTo>
                  <a:lnTo>
                    <a:pt x="4" y="28"/>
                  </a:lnTo>
                  <a:lnTo>
                    <a:pt x="4" y="33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Freeform 137">
              <a:extLst>
                <a:ext uri="{FF2B5EF4-FFF2-40B4-BE49-F238E27FC236}">
                  <a16:creationId xmlns:a16="http://schemas.microsoft.com/office/drawing/2014/main" id="{C74117EE-B93C-B7DA-DBC7-6F1EA4472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1896" y="1391440"/>
              <a:ext cx="1084241" cy="1407235"/>
            </a:xfrm>
            <a:custGeom>
              <a:avLst/>
              <a:gdLst>
                <a:gd name="T0" fmla="*/ 13041497 w 109"/>
                <a:gd name="T1" fmla="*/ 0 h 146"/>
                <a:gd name="T2" fmla="*/ 14503499 w 109"/>
                <a:gd name="T3" fmla="*/ 1423608 h 146"/>
                <a:gd name="T4" fmla="*/ 17800827 w 109"/>
                <a:gd name="T5" fmla="*/ 1423608 h 146"/>
                <a:gd name="T6" fmla="*/ 17800827 w 109"/>
                <a:gd name="T7" fmla="*/ 2762068 h 146"/>
                <a:gd name="T8" fmla="*/ 19633310 w 109"/>
                <a:gd name="T9" fmla="*/ 1423608 h 146"/>
                <a:gd name="T10" fmla="*/ 22856569 w 109"/>
                <a:gd name="T11" fmla="*/ 4891359 h 146"/>
                <a:gd name="T12" fmla="*/ 21394071 w 109"/>
                <a:gd name="T13" fmla="*/ 6314967 h 146"/>
                <a:gd name="T14" fmla="*/ 22856569 w 109"/>
                <a:gd name="T15" fmla="*/ 6673320 h 146"/>
                <a:gd name="T16" fmla="*/ 22856569 w 109"/>
                <a:gd name="T17" fmla="*/ 7665149 h 146"/>
                <a:gd name="T18" fmla="*/ 21394071 w 109"/>
                <a:gd name="T19" fmla="*/ 9077009 h 146"/>
                <a:gd name="T20" fmla="*/ 22856569 w 109"/>
                <a:gd name="T21" fmla="*/ 9435357 h 146"/>
                <a:gd name="T22" fmla="*/ 21394071 w 109"/>
                <a:gd name="T23" fmla="*/ 11908869 h 146"/>
                <a:gd name="T24" fmla="*/ 22856569 w 109"/>
                <a:gd name="T25" fmla="*/ 11908869 h 146"/>
                <a:gd name="T26" fmla="*/ 24689080 w 109"/>
                <a:gd name="T27" fmla="*/ 9435357 h 146"/>
                <a:gd name="T28" fmla="*/ 26153996 w 109"/>
                <a:gd name="T29" fmla="*/ 9435357 h 146"/>
                <a:gd name="T30" fmla="*/ 26509405 w 109"/>
                <a:gd name="T31" fmla="*/ 8012361 h 146"/>
                <a:gd name="T32" fmla="*/ 29732184 w 109"/>
                <a:gd name="T33" fmla="*/ 7665149 h 146"/>
                <a:gd name="T34" fmla="*/ 29376775 w 109"/>
                <a:gd name="T35" fmla="*/ 6314967 h 146"/>
                <a:gd name="T36" fmla="*/ 34861984 w 109"/>
                <a:gd name="T37" fmla="*/ 9435357 h 146"/>
                <a:gd name="T38" fmla="*/ 39547360 w 109"/>
                <a:gd name="T39" fmla="*/ 9435357 h 146"/>
                <a:gd name="T40" fmla="*/ 36252865 w 109"/>
                <a:gd name="T41" fmla="*/ 13262685 h 146"/>
                <a:gd name="T42" fmla="*/ 34492129 w 109"/>
                <a:gd name="T43" fmla="*/ 13262685 h 146"/>
                <a:gd name="T44" fmla="*/ 33029611 w 109"/>
                <a:gd name="T45" fmla="*/ 16456496 h 146"/>
                <a:gd name="T46" fmla="*/ 32674796 w 109"/>
                <a:gd name="T47" fmla="*/ 23403728 h 146"/>
                <a:gd name="T48" fmla="*/ 31564557 w 109"/>
                <a:gd name="T49" fmla="*/ 24827316 h 146"/>
                <a:gd name="T50" fmla="*/ 31194800 w 109"/>
                <a:gd name="T51" fmla="*/ 28654045 h 146"/>
                <a:gd name="T52" fmla="*/ 32674796 w 109"/>
                <a:gd name="T53" fmla="*/ 28654045 h 146"/>
                <a:gd name="T54" fmla="*/ 32674796 w 109"/>
                <a:gd name="T55" fmla="*/ 32206819 h 146"/>
                <a:gd name="T56" fmla="*/ 24321603 w 109"/>
                <a:gd name="T57" fmla="*/ 32565281 h 146"/>
                <a:gd name="T58" fmla="*/ 21394071 w 109"/>
                <a:gd name="T59" fmla="*/ 35327357 h 146"/>
                <a:gd name="T60" fmla="*/ 17800827 w 109"/>
                <a:gd name="T61" fmla="*/ 37095164 h 146"/>
                <a:gd name="T62" fmla="*/ 14503499 w 109"/>
                <a:gd name="T63" fmla="*/ 44042973 h 146"/>
                <a:gd name="T64" fmla="*/ 14503499 w 109"/>
                <a:gd name="T65" fmla="*/ 47236813 h 146"/>
                <a:gd name="T66" fmla="*/ 12671017 w 109"/>
                <a:gd name="T67" fmla="*/ 51078258 h 146"/>
                <a:gd name="T68" fmla="*/ 11280731 w 109"/>
                <a:gd name="T69" fmla="*/ 51078258 h 146"/>
                <a:gd name="T70" fmla="*/ 9448370 w 109"/>
                <a:gd name="T71" fmla="*/ 47957128 h 146"/>
                <a:gd name="T72" fmla="*/ 9448370 w 109"/>
                <a:gd name="T73" fmla="*/ 46172160 h 146"/>
                <a:gd name="T74" fmla="*/ 7612821 w 109"/>
                <a:gd name="T75" fmla="*/ 44763328 h 146"/>
                <a:gd name="T76" fmla="*/ 9448370 w 109"/>
                <a:gd name="T77" fmla="*/ 41642277 h 146"/>
                <a:gd name="T78" fmla="*/ 11280731 w 109"/>
                <a:gd name="T79" fmla="*/ 41642277 h 146"/>
                <a:gd name="T80" fmla="*/ 11280731 w 109"/>
                <a:gd name="T81" fmla="*/ 39154659 h 146"/>
                <a:gd name="T82" fmla="*/ 7612821 w 109"/>
                <a:gd name="T83" fmla="*/ 39154659 h 146"/>
                <a:gd name="T84" fmla="*/ 5055153 w 109"/>
                <a:gd name="T85" fmla="*/ 35686312 h 146"/>
                <a:gd name="T86" fmla="*/ 5055153 w 109"/>
                <a:gd name="T87" fmla="*/ 33904342 h 146"/>
                <a:gd name="T88" fmla="*/ 3667913 w 109"/>
                <a:gd name="T89" fmla="*/ 33904342 h 146"/>
                <a:gd name="T90" fmla="*/ 5055153 w 109"/>
                <a:gd name="T91" fmla="*/ 32565281 h 146"/>
                <a:gd name="T92" fmla="*/ 5425634 w 109"/>
                <a:gd name="T93" fmla="*/ 25186290 h 146"/>
                <a:gd name="T94" fmla="*/ 3667913 w 109"/>
                <a:gd name="T95" fmla="*/ 23762683 h 146"/>
                <a:gd name="T96" fmla="*/ 1832384 w 109"/>
                <a:gd name="T97" fmla="*/ 23762683 h 146"/>
                <a:gd name="T98" fmla="*/ 0 w 109"/>
                <a:gd name="T99" fmla="*/ 22065278 h 146"/>
                <a:gd name="T100" fmla="*/ 5425634 w 109"/>
                <a:gd name="T101" fmla="*/ 18871473 h 146"/>
                <a:gd name="T102" fmla="*/ 7982711 w 109"/>
                <a:gd name="T103" fmla="*/ 13621156 h 146"/>
                <a:gd name="T104" fmla="*/ 9818116 w 109"/>
                <a:gd name="T105" fmla="*/ 12270822 h 146"/>
                <a:gd name="T106" fmla="*/ 9818116 w 109"/>
                <a:gd name="T107" fmla="*/ 8012361 h 146"/>
                <a:gd name="T108" fmla="*/ 13041497 w 109"/>
                <a:gd name="T109" fmla="*/ 4891359 h 146"/>
                <a:gd name="T110" fmla="*/ 13041497 w 109"/>
                <a:gd name="T111" fmla="*/ 0 h 1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9"/>
                <a:gd name="T169" fmla="*/ 0 h 146"/>
                <a:gd name="T170" fmla="*/ 109 w 109"/>
                <a:gd name="T171" fmla="*/ 146 h 1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9" h="146">
                  <a:moveTo>
                    <a:pt x="36" y="0"/>
                  </a:moveTo>
                  <a:lnTo>
                    <a:pt x="40" y="4"/>
                  </a:lnTo>
                  <a:lnTo>
                    <a:pt x="49" y="4"/>
                  </a:lnTo>
                  <a:lnTo>
                    <a:pt x="49" y="8"/>
                  </a:lnTo>
                  <a:lnTo>
                    <a:pt x="54" y="4"/>
                  </a:lnTo>
                  <a:lnTo>
                    <a:pt x="63" y="14"/>
                  </a:lnTo>
                  <a:lnTo>
                    <a:pt x="59" y="18"/>
                  </a:lnTo>
                  <a:lnTo>
                    <a:pt x="63" y="19"/>
                  </a:lnTo>
                  <a:lnTo>
                    <a:pt x="63" y="22"/>
                  </a:lnTo>
                  <a:lnTo>
                    <a:pt x="59" y="26"/>
                  </a:lnTo>
                  <a:lnTo>
                    <a:pt x="63" y="27"/>
                  </a:lnTo>
                  <a:lnTo>
                    <a:pt x="59" y="34"/>
                  </a:lnTo>
                  <a:lnTo>
                    <a:pt x="63" y="34"/>
                  </a:lnTo>
                  <a:lnTo>
                    <a:pt x="68" y="27"/>
                  </a:lnTo>
                  <a:lnTo>
                    <a:pt x="72" y="27"/>
                  </a:lnTo>
                  <a:lnTo>
                    <a:pt x="73" y="23"/>
                  </a:lnTo>
                  <a:lnTo>
                    <a:pt x="82" y="22"/>
                  </a:lnTo>
                  <a:lnTo>
                    <a:pt x="81" y="18"/>
                  </a:lnTo>
                  <a:lnTo>
                    <a:pt x="96" y="27"/>
                  </a:lnTo>
                  <a:lnTo>
                    <a:pt x="109" y="27"/>
                  </a:lnTo>
                  <a:lnTo>
                    <a:pt x="100" y="38"/>
                  </a:lnTo>
                  <a:lnTo>
                    <a:pt x="95" y="38"/>
                  </a:lnTo>
                  <a:lnTo>
                    <a:pt x="91" y="47"/>
                  </a:lnTo>
                  <a:lnTo>
                    <a:pt x="90" y="67"/>
                  </a:lnTo>
                  <a:lnTo>
                    <a:pt x="87" y="71"/>
                  </a:lnTo>
                  <a:lnTo>
                    <a:pt x="86" y="82"/>
                  </a:lnTo>
                  <a:lnTo>
                    <a:pt x="90" y="82"/>
                  </a:lnTo>
                  <a:lnTo>
                    <a:pt x="90" y="92"/>
                  </a:lnTo>
                  <a:lnTo>
                    <a:pt x="67" y="93"/>
                  </a:lnTo>
                  <a:lnTo>
                    <a:pt x="59" y="101"/>
                  </a:lnTo>
                  <a:lnTo>
                    <a:pt x="49" y="106"/>
                  </a:lnTo>
                  <a:lnTo>
                    <a:pt x="40" y="126"/>
                  </a:lnTo>
                  <a:lnTo>
                    <a:pt x="40" y="135"/>
                  </a:lnTo>
                  <a:lnTo>
                    <a:pt x="35" y="146"/>
                  </a:lnTo>
                  <a:lnTo>
                    <a:pt x="31" y="146"/>
                  </a:lnTo>
                  <a:lnTo>
                    <a:pt x="26" y="137"/>
                  </a:lnTo>
                  <a:lnTo>
                    <a:pt x="26" y="132"/>
                  </a:lnTo>
                  <a:lnTo>
                    <a:pt x="21" y="128"/>
                  </a:lnTo>
                  <a:lnTo>
                    <a:pt x="26" y="119"/>
                  </a:lnTo>
                  <a:lnTo>
                    <a:pt x="31" y="119"/>
                  </a:lnTo>
                  <a:lnTo>
                    <a:pt x="31" y="112"/>
                  </a:lnTo>
                  <a:lnTo>
                    <a:pt x="21" y="112"/>
                  </a:lnTo>
                  <a:lnTo>
                    <a:pt x="14" y="102"/>
                  </a:lnTo>
                  <a:lnTo>
                    <a:pt x="14" y="97"/>
                  </a:lnTo>
                  <a:lnTo>
                    <a:pt x="10" y="97"/>
                  </a:lnTo>
                  <a:lnTo>
                    <a:pt x="14" y="93"/>
                  </a:lnTo>
                  <a:lnTo>
                    <a:pt x="15" y="72"/>
                  </a:lnTo>
                  <a:lnTo>
                    <a:pt x="10" y="68"/>
                  </a:lnTo>
                  <a:lnTo>
                    <a:pt x="5" y="68"/>
                  </a:lnTo>
                  <a:lnTo>
                    <a:pt x="0" y="63"/>
                  </a:lnTo>
                  <a:lnTo>
                    <a:pt x="15" y="54"/>
                  </a:lnTo>
                  <a:lnTo>
                    <a:pt x="22" y="39"/>
                  </a:lnTo>
                  <a:lnTo>
                    <a:pt x="27" y="35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36" y="0"/>
                  </a:lnTo>
                </a:path>
              </a:pathLst>
            </a:custGeom>
            <a:solidFill>
              <a:srgbClr val="4472C4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0" name="Freeform 138">
              <a:extLst>
                <a:ext uri="{FF2B5EF4-FFF2-40B4-BE49-F238E27FC236}">
                  <a16:creationId xmlns:a16="http://schemas.microsoft.com/office/drawing/2014/main" id="{C584F511-52C9-3512-06E6-5D94FEC70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372" y="2470320"/>
              <a:ext cx="1100304" cy="916659"/>
            </a:xfrm>
            <a:custGeom>
              <a:avLst/>
              <a:gdLst>
                <a:gd name="T0" fmla="*/ 24368921 w 111"/>
                <a:gd name="T1" fmla="*/ 3865246 h 95"/>
                <a:gd name="T2" fmla="*/ 28944355 w 111"/>
                <a:gd name="T3" fmla="*/ 5644944 h 95"/>
                <a:gd name="T4" fmla="*/ 28944355 w 111"/>
                <a:gd name="T5" fmla="*/ 13434264 h 95"/>
                <a:gd name="T6" fmla="*/ 32448690 w 111"/>
                <a:gd name="T7" fmla="*/ 18008701 h 95"/>
                <a:gd name="T8" fmla="*/ 37384737 w 111"/>
                <a:gd name="T9" fmla="*/ 18008701 h 95"/>
                <a:gd name="T10" fmla="*/ 37384737 w 111"/>
                <a:gd name="T11" fmla="*/ 21152259 h 95"/>
                <a:gd name="T12" fmla="*/ 39165135 w 111"/>
                <a:gd name="T13" fmla="*/ 24366438 h 95"/>
                <a:gd name="T14" fmla="*/ 39165135 w 111"/>
                <a:gd name="T15" fmla="*/ 25727426 h 95"/>
                <a:gd name="T16" fmla="*/ 37384737 w 111"/>
                <a:gd name="T17" fmla="*/ 27521908 h 95"/>
                <a:gd name="T18" fmla="*/ 36023822 w 111"/>
                <a:gd name="T19" fmla="*/ 31736450 h 95"/>
                <a:gd name="T20" fmla="*/ 34244017 w 111"/>
                <a:gd name="T21" fmla="*/ 33516003 h 95"/>
                <a:gd name="T22" fmla="*/ 27524571 w 111"/>
                <a:gd name="T23" fmla="*/ 33516003 h 95"/>
                <a:gd name="T24" fmla="*/ 25729975 w 111"/>
                <a:gd name="T25" fmla="*/ 31736450 h 95"/>
                <a:gd name="T26" fmla="*/ 24020196 w 111"/>
                <a:gd name="T27" fmla="*/ 31736450 h 95"/>
                <a:gd name="T28" fmla="*/ 21154423 w 111"/>
                <a:gd name="T29" fmla="*/ 29302074 h 95"/>
                <a:gd name="T30" fmla="*/ 21154423 w 111"/>
                <a:gd name="T31" fmla="*/ 27521908 h 95"/>
                <a:gd name="T32" fmla="*/ 12728343 w 111"/>
                <a:gd name="T33" fmla="*/ 27521908 h 95"/>
                <a:gd name="T34" fmla="*/ 11294262 w 111"/>
                <a:gd name="T35" fmla="*/ 25727426 h 95"/>
                <a:gd name="T36" fmla="*/ 7789894 w 111"/>
                <a:gd name="T37" fmla="*/ 24366438 h 95"/>
                <a:gd name="T38" fmla="*/ 6355206 w 111"/>
                <a:gd name="T39" fmla="*/ 19442695 h 95"/>
                <a:gd name="T40" fmla="*/ 7789894 w 111"/>
                <a:gd name="T41" fmla="*/ 19442695 h 95"/>
                <a:gd name="T42" fmla="*/ 6355206 w 111"/>
                <a:gd name="T43" fmla="*/ 15158613 h 95"/>
                <a:gd name="T44" fmla="*/ 4936043 w 111"/>
                <a:gd name="T45" fmla="*/ 12002679 h 95"/>
                <a:gd name="T46" fmla="*/ 0 w 111"/>
                <a:gd name="T47" fmla="*/ 10583594 h 95"/>
                <a:gd name="T48" fmla="*/ 1434077 w 111"/>
                <a:gd name="T49" fmla="*/ 9149572 h 95"/>
                <a:gd name="T50" fmla="*/ 5284750 w 111"/>
                <a:gd name="T51" fmla="*/ 9513210 h 95"/>
                <a:gd name="T52" fmla="*/ 7789894 w 111"/>
                <a:gd name="T53" fmla="*/ 8439798 h 95"/>
                <a:gd name="T54" fmla="*/ 12004213 w 111"/>
                <a:gd name="T55" fmla="*/ 5644944 h 95"/>
                <a:gd name="T56" fmla="*/ 14435703 w 111"/>
                <a:gd name="T57" fmla="*/ 5644944 h 95"/>
                <a:gd name="T58" fmla="*/ 14799230 w 111"/>
                <a:gd name="T59" fmla="*/ 3140558 h 95"/>
                <a:gd name="T60" fmla="*/ 16230309 w 111"/>
                <a:gd name="T61" fmla="*/ 2504386 h 95"/>
                <a:gd name="T62" fmla="*/ 15869676 w 111"/>
                <a:gd name="T63" fmla="*/ 0 h 95"/>
                <a:gd name="T64" fmla="*/ 21154423 w 111"/>
                <a:gd name="T65" fmla="*/ 0 h 95"/>
                <a:gd name="T66" fmla="*/ 24368921 w 111"/>
                <a:gd name="T67" fmla="*/ 3865246 h 9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"/>
                <a:gd name="T103" fmla="*/ 0 h 95"/>
                <a:gd name="T104" fmla="*/ 111 w 111"/>
                <a:gd name="T105" fmla="*/ 95 h 9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" h="95">
                  <a:moveTo>
                    <a:pt x="69" y="11"/>
                  </a:moveTo>
                  <a:lnTo>
                    <a:pt x="82" y="16"/>
                  </a:lnTo>
                  <a:cubicBezTo>
                    <a:pt x="82" y="24"/>
                    <a:pt x="82" y="31"/>
                    <a:pt x="82" y="38"/>
                  </a:cubicBezTo>
                  <a:lnTo>
                    <a:pt x="92" y="51"/>
                  </a:lnTo>
                  <a:lnTo>
                    <a:pt x="106" y="51"/>
                  </a:lnTo>
                  <a:lnTo>
                    <a:pt x="106" y="60"/>
                  </a:lnTo>
                  <a:lnTo>
                    <a:pt x="111" y="69"/>
                  </a:lnTo>
                  <a:lnTo>
                    <a:pt x="111" y="73"/>
                  </a:lnTo>
                  <a:lnTo>
                    <a:pt x="106" y="78"/>
                  </a:lnTo>
                  <a:lnTo>
                    <a:pt x="102" y="90"/>
                  </a:lnTo>
                  <a:lnTo>
                    <a:pt x="97" y="95"/>
                  </a:lnTo>
                  <a:lnTo>
                    <a:pt x="78" y="95"/>
                  </a:lnTo>
                  <a:lnTo>
                    <a:pt x="73" y="90"/>
                  </a:lnTo>
                  <a:lnTo>
                    <a:pt x="68" y="90"/>
                  </a:lnTo>
                  <a:lnTo>
                    <a:pt x="60" y="83"/>
                  </a:lnTo>
                  <a:lnTo>
                    <a:pt x="60" y="78"/>
                  </a:lnTo>
                  <a:cubicBezTo>
                    <a:pt x="52" y="78"/>
                    <a:pt x="44" y="78"/>
                    <a:pt x="36" y="78"/>
                  </a:cubicBezTo>
                  <a:lnTo>
                    <a:pt x="32" y="73"/>
                  </a:lnTo>
                  <a:lnTo>
                    <a:pt x="22" y="69"/>
                  </a:lnTo>
                  <a:lnTo>
                    <a:pt x="18" y="55"/>
                  </a:lnTo>
                  <a:lnTo>
                    <a:pt x="22" y="55"/>
                  </a:lnTo>
                  <a:lnTo>
                    <a:pt x="18" y="43"/>
                  </a:lnTo>
                  <a:lnTo>
                    <a:pt x="14" y="34"/>
                  </a:lnTo>
                  <a:lnTo>
                    <a:pt x="0" y="30"/>
                  </a:lnTo>
                  <a:lnTo>
                    <a:pt x="4" y="26"/>
                  </a:lnTo>
                  <a:lnTo>
                    <a:pt x="15" y="27"/>
                  </a:lnTo>
                  <a:lnTo>
                    <a:pt x="22" y="24"/>
                  </a:lnTo>
                  <a:lnTo>
                    <a:pt x="34" y="16"/>
                  </a:lnTo>
                  <a:lnTo>
                    <a:pt x="41" y="16"/>
                  </a:lnTo>
                  <a:lnTo>
                    <a:pt x="42" y="9"/>
                  </a:lnTo>
                  <a:lnTo>
                    <a:pt x="46" y="7"/>
                  </a:lnTo>
                  <a:lnTo>
                    <a:pt x="45" y="0"/>
                  </a:lnTo>
                  <a:lnTo>
                    <a:pt x="60" y="0"/>
                  </a:lnTo>
                  <a:lnTo>
                    <a:pt x="69" y="11"/>
                  </a:ln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Freeform 139">
              <a:extLst>
                <a:ext uri="{FF2B5EF4-FFF2-40B4-BE49-F238E27FC236}">
                  <a16:creationId xmlns:a16="http://schemas.microsoft.com/office/drawing/2014/main" id="{9CFF18DC-C28A-9A1F-F0CF-0F402214C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4575" y="1156899"/>
              <a:ext cx="361414" cy="254085"/>
            </a:xfrm>
            <a:custGeom>
              <a:avLst/>
              <a:gdLst>
                <a:gd name="T0" fmla="*/ 5313 w 81"/>
                <a:gd name="T1" fmla="*/ 25930 h 61"/>
                <a:gd name="T2" fmla="*/ 0 w 81"/>
                <a:gd name="T3" fmla="*/ 20791 h 61"/>
                <a:gd name="T4" fmla="*/ 0 w 81"/>
                <a:gd name="T5" fmla="*/ 7608 h 61"/>
                <a:gd name="T6" fmla="*/ 4829 w 81"/>
                <a:gd name="T7" fmla="*/ 7608 h 61"/>
                <a:gd name="T8" fmla="*/ 4829 w 81"/>
                <a:gd name="T9" fmla="*/ 3389 h 61"/>
                <a:gd name="T10" fmla="*/ 23847 w 81"/>
                <a:gd name="T11" fmla="*/ 386 h 61"/>
                <a:gd name="T12" fmla="*/ 48187 w 81"/>
                <a:gd name="T13" fmla="*/ 3389 h 61"/>
                <a:gd name="T14" fmla="*/ 42873 w 81"/>
                <a:gd name="T15" fmla="*/ 17985 h 61"/>
                <a:gd name="T16" fmla="*/ 38044 w 81"/>
                <a:gd name="T17" fmla="*/ 17985 h 61"/>
                <a:gd name="T18" fmla="*/ 38044 w 81"/>
                <a:gd name="T19" fmla="*/ 22196 h 61"/>
                <a:gd name="T20" fmla="*/ 26731 w 81"/>
                <a:gd name="T21" fmla="*/ 22196 h 61"/>
                <a:gd name="T22" fmla="*/ 21467 w 81"/>
                <a:gd name="T23" fmla="*/ 25930 h 61"/>
                <a:gd name="T24" fmla="*/ 5313 w 81"/>
                <a:gd name="T25" fmla="*/ 25930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1"/>
                <a:gd name="T40" fmla="*/ 0 h 61"/>
                <a:gd name="T41" fmla="*/ 81 w 81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1" h="61">
                  <a:moveTo>
                    <a:pt x="9" y="61"/>
                  </a:moveTo>
                  <a:lnTo>
                    <a:pt x="0" y="49"/>
                  </a:lnTo>
                  <a:lnTo>
                    <a:pt x="0" y="18"/>
                  </a:lnTo>
                  <a:lnTo>
                    <a:pt x="8" y="18"/>
                  </a:lnTo>
                  <a:lnTo>
                    <a:pt x="8" y="8"/>
                  </a:lnTo>
                  <a:cubicBezTo>
                    <a:pt x="17" y="2"/>
                    <a:pt x="30" y="1"/>
                    <a:pt x="40" y="1"/>
                  </a:cubicBezTo>
                  <a:cubicBezTo>
                    <a:pt x="54" y="1"/>
                    <a:pt x="67" y="0"/>
                    <a:pt x="81" y="8"/>
                  </a:cubicBezTo>
                  <a:lnTo>
                    <a:pt x="72" y="42"/>
                  </a:lnTo>
                  <a:lnTo>
                    <a:pt x="64" y="42"/>
                  </a:lnTo>
                  <a:lnTo>
                    <a:pt x="64" y="52"/>
                  </a:lnTo>
                  <a:lnTo>
                    <a:pt x="45" y="52"/>
                  </a:lnTo>
                  <a:lnTo>
                    <a:pt x="36" y="61"/>
                  </a:lnTo>
                  <a:cubicBezTo>
                    <a:pt x="24" y="61"/>
                    <a:pt x="21" y="61"/>
                    <a:pt x="9" y="61"/>
                  </a:cubicBezTo>
                </a:path>
              </a:pathLst>
            </a:custGeom>
            <a:solidFill>
              <a:srgbClr val="D9D9D9"/>
            </a:solidFill>
            <a:ln w="19050">
              <a:solidFill>
                <a:srgbClr val="FF9900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5000"/>
                </a:lnSpc>
                <a:buClr>
                  <a:schemeClr val="bg1"/>
                </a:buClr>
                <a:buNone/>
              </a:pPr>
              <a:endParaRPr lang="en-US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65" name="TextBox 3">
            <a:extLst>
              <a:ext uri="{FF2B5EF4-FFF2-40B4-BE49-F238E27FC236}">
                <a16:creationId xmlns:a16="http://schemas.microsoft.com/office/drawing/2014/main" id="{EDDB8AFA-E400-BB58-92F3-009968194D66}"/>
              </a:ext>
            </a:extLst>
          </p:cNvPr>
          <p:cNvSpPr txBox="1"/>
          <p:nvPr/>
        </p:nvSpPr>
        <p:spPr>
          <a:xfrm>
            <a:off x="2471836" y="3354585"/>
            <a:ext cx="5078036" cy="10802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ZONA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Á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ANHÃO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L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AUÍ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L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ARÁ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O GRANDE DO NORTE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ÍBA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L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NAMBUCO</a:t>
            </a:r>
            <a:endParaRPr lang="pt-BR" sz="3000" b="1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CaixaDeTexto 76">
            <a:extLst>
              <a:ext uri="{FF2B5EF4-FFF2-40B4-BE49-F238E27FC236}">
                <a16:creationId xmlns:a16="http://schemas.microsoft.com/office/drawing/2014/main" id="{D6B9B128-CC66-488D-22D9-7FEB4D2A7ACE}"/>
              </a:ext>
            </a:extLst>
          </p:cNvPr>
          <p:cNvSpPr txBox="1"/>
          <p:nvPr/>
        </p:nvSpPr>
        <p:spPr>
          <a:xfrm>
            <a:off x="8374475" y="3354584"/>
            <a:ext cx="3385827" cy="10802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GOA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GIPE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HIA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AS GER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IÁ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O DE JANEIRO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ÃO PAULO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NÁ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IS</a:t>
            </a:r>
          </a:p>
          <a:p>
            <a:endParaRPr lang="pt-BR" sz="2500" dirty="0"/>
          </a:p>
        </p:txBody>
      </p:sp>
      <p:sp>
        <p:nvSpPr>
          <p:cNvPr id="64" name="Elipse 63">
            <a:extLst>
              <a:ext uri="{FF2B5EF4-FFF2-40B4-BE49-F238E27FC236}">
                <a16:creationId xmlns:a16="http://schemas.microsoft.com/office/drawing/2014/main" id="{9F2D9E76-A42C-C032-7FA3-819E44EBD72F}"/>
              </a:ext>
            </a:extLst>
          </p:cNvPr>
          <p:cNvSpPr/>
          <p:nvPr/>
        </p:nvSpPr>
        <p:spPr>
          <a:xfrm>
            <a:off x="1715987" y="3512723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7" name="Elipse 66">
            <a:extLst>
              <a:ext uri="{FF2B5EF4-FFF2-40B4-BE49-F238E27FC236}">
                <a16:creationId xmlns:a16="http://schemas.microsoft.com/office/drawing/2014/main" id="{CAC4D2D3-67B3-202A-46A1-E9C54124ECEB}"/>
              </a:ext>
            </a:extLst>
          </p:cNvPr>
          <p:cNvSpPr/>
          <p:nvPr/>
        </p:nvSpPr>
        <p:spPr>
          <a:xfrm>
            <a:off x="7525652" y="3539095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73" name="Elipse 72">
            <a:extLst>
              <a:ext uri="{FF2B5EF4-FFF2-40B4-BE49-F238E27FC236}">
                <a16:creationId xmlns:a16="http://schemas.microsoft.com/office/drawing/2014/main" id="{85186CE5-252A-1490-EC96-ACFA18B2B578}"/>
              </a:ext>
            </a:extLst>
          </p:cNvPr>
          <p:cNvSpPr/>
          <p:nvPr/>
        </p:nvSpPr>
        <p:spPr>
          <a:xfrm>
            <a:off x="1715987" y="4832087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74" name="Elipse 73">
            <a:extLst>
              <a:ext uri="{FF2B5EF4-FFF2-40B4-BE49-F238E27FC236}">
                <a16:creationId xmlns:a16="http://schemas.microsoft.com/office/drawing/2014/main" id="{B1D15220-535C-DF18-B50D-85D41D1A10D6}"/>
              </a:ext>
            </a:extLst>
          </p:cNvPr>
          <p:cNvSpPr/>
          <p:nvPr/>
        </p:nvSpPr>
        <p:spPr>
          <a:xfrm>
            <a:off x="1715987" y="6124557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5" name="Elipse 74">
            <a:extLst>
              <a:ext uri="{FF2B5EF4-FFF2-40B4-BE49-F238E27FC236}">
                <a16:creationId xmlns:a16="http://schemas.microsoft.com/office/drawing/2014/main" id="{F911DF48-B2D3-8265-678C-597DEA1E9D03}"/>
              </a:ext>
            </a:extLst>
          </p:cNvPr>
          <p:cNvSpPr/>
          <p:nvPr/>
        </p:nvSpPr>
        <p:spPr>
          <a:xfrm>
            <a:off x="1715987" y="7443921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76" name="Elipse 75">
            <a:extLst>
              <a:ext uri="{FF2B5EF4-FFF2-40B4-BE49-F238E27FC236}">
                <a16:creationId xmlns:a16="http://schemas.microsoft.com/office/drawing/2014/main" id="{42379A74-8047-A209-FECE-87CF30C631C6}"/>
              </a:ext>
            </a:extLst>
          </p:cNvPr>
          <p:cNvSpPr/>
          <p:nvPr/>
        </p:nvSpPr>
        <p:spPr>
          <a:xfrm>
            <a:off x="1715987" y="8763285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79" name="Elipse 78">
            <a:extLst>
              <a:ext uri="{FF2B5EF4-FFF2-40B4-BE49-F238E27FC236}">
                <a16:creationId xmlns:a16="http://schemas.microsoft.com/office/drawing/2014/main" id="{BD80C4D4-C3D2-F689-C1ED-006431609247}"/>
              </a:ext>
            </a:extLst>
          </p:cNvPr>
          <p:cNvSpPr/>
          <p:nvPr/>
        </p:nvSpPr>
        <p:spPr>
          <a:xfrm>
            <a:off x="1715987" y="10109543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80" name="Elipse 79">
            <a:extLst>
              <a:ext uri="{FF2B5EF4-FFF2-40B4-BE49-F238E27FC236}">
                <a16:creationId xmlns:a16="http://schemas.microsoft.com/office/drawing/2014/main" id="{636C3846-534F-BFB9-4470-C044F9BB46D1}"/>
              </a:ext>
            </a:extLst>
          </p:cNvPr>
          <p:cNvSpPr/>
          <p:nvPr/>
        </p:nvSpPr>
        <p:spPr>
          <a:xfrm>
            <a:off x="1715987" y="11482695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81" name="Elipse 80">
            <a:extLst>
              <a:ext uri="{FF2B5EF4-FFF2-40B4-BE49-F238E27FC236}">
                <a16:creationId xmlns:a16="http://schemas.microsoft.com/office/drawing/2014/main" id="{92A834F9-C9CD-5351-8C0B-F13255BF18C9}"/>
              </a:ext>
            </a:extLst>
          </p:cNvPr>
          <p:cNvSpPr/>
          <p:nvPr/>
        </p:nvSpPr>
        <p:spPr>
          <a:xfrm>
            <a:off x="1715987" y="12802062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83" name="Elipse 82">
            <a:extLst>
              <a:ext uri="{FF2B5EF4-FFF2-40B4-BE49-F238E27FC236}">
                <a16:creationId xmlns:a16="http://schemas.microsoft.com/office/drawing/2014/main" id="{35143D22-3C5D-51BB-EAE3-234529D8266B}"/>
              </a:ext>
            </a:extLst>
          </p:cNvPr>
          <p:cNvSpPr/>
          <p:nvPr/>
        </p:nvSpPr>
        <p:spPr>
          <a:xfrm>
            <a:off x="7525652" y="4843611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84" name="Elipse 83">
            <a:extLst>
              <a:ext uri="{FF2B5EF4-FFF2-40B4-BE49-F238E27FC236}">
                <a16:creationId xmlns:a16="http://schemas.microsoft.com/office/drawing/2014/main" id="{8386581B-C80E-5D41-3FC7-69BD740A5268}"/>
              </a:ext>
            </a:extLst>
          </p:cNvPr>
          <p:cNvSpPr/>
          <p:nvPr/>
        </p:nvSpPr>
        <p:spPr>
          <a:xfrm>
            <a:off x="7525652" y="6094339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85" name="Elipse 84">
            <a:extLst>
              <a:ext uri="{FF2B5EF4-FFF2-40B4-BE49-F238E27FC236}">
                <a16:creationId xmlns:a16="http://schemas.microsoft.com/office/drawing/2014/main" id="{97CD2F18-0A5E-2BF6-A86D-E165EA867B1E}"/>
              </a:ext>
            </a:extLst>
          </p:cNvPr>
          <p:cNvSpPr/>
          <p:nvPr/>
        </p:nvSpPr>
        <p:spPr>
          <a:xfrm>
            <a:off x="7525652" y="7452643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86" name="Elipse 85">
            <a:extLst>
              <a:ext uri="{FF2B5EF4-FFF2-40B4-BE49-F238E27FC236}">
                <a16:creationId xmlns:a16="http://schemas.microsoft.com/office/drawing/2014/main" id="{D0467859-0277-BB0D-DA8F-063C763B8DCE}"/>
              </a:ext>
            </a:extLst>
          </p:cNvPr>
          <p:cNvSpPr/>
          <p:nvPr/>
        </p:nvSpPr>
        <p:spPr>
          <a:xfrm>
            <a:off x="7525652" y="8837841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87" name="Elipse 86">
            <a:extLst>
              <a:ext uri="{FF2B5EF4-FFF2-40B4-BE49-F238E27FC236}">
                <a16:creationId xmlns:a16="http://schemas.microsoft.com/office/drawing/2014/main" id="{225EF915-F598-C7F5-6636-F78C967F6E08}"/>
              </a:ext>
            </a:extLst>
          </p:cNvPr>
          <p:cNvSpPr/>
          <p:nvPr/>
        </p:nvSpPr>
        <p:spPr>
          <a:xfrm>
            <a:off x="7525652" y="10196145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88" name="Elipse 87">
            <a:extLst>
              <a:ext uri="{FF2B5EF4-FFF2-40B4-BE49-F238E27FC236}">
                <a16:creationId xmlns:a16="http://schemas.microsoft.com/office/drawing/2014/main" id="{62502D86-AB3F-5069-C62E-DB3DDB6CED5D}"/>
              </a:ext>
            </a:extLst>
          </p:cNvPr>
          <p:cNvSpPr/>
          <p:nvPr/>
        </p:nvSpPr>
        <p:spPr>
          <a:xfrm>
            <a:off x="7525652" y="11446873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89" name="Elipse 88">
            <a:extLst>
              <a:ext uri="{FF2B5EF4-FFF2-40B4-BE49-F238E27FC236}">
                <a16:creationId xmlns:a16="http://schemas.microsoft.com/office/drawing/2014/main" id="{9A8EE9F2-85AF-FF3B-EED4-D43C9B85001D}"/>
              </a:ext>
            </a:extLst>
          </p:cNvPr>
          <p:cNvSpPr/>
          <p:nvPr/>
        </p:nvSpPr>
        <p:spPr>
          <a:xfrm>
            <a:off x="7525652" y="12805178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90" name="Elipse 89">
            <a:extLst>
              <a:ext uri="{FF2B5EF4-FFF2-40B4-BE49-F238E27FC236}">
                <a16:creationId xmlns:a16="http://schemas.microsoft.com/office/drawing/2014/main" id="{A210C5A3-EC69-BE0D-9F1F-2A486941F4F6}"/>
              </a:ext>
            </a:extLst>
          </p:cNvPr>
          <p:cNvSpPr/>
          <p:nvPr/>
        </p:nvSpPr>
        <p:spPr>
          <a:xfrm>
            <a:off x="16948220" y="5068662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1" name="Elipse 90">
            <a:extLst>
              <a:ext uri="{FF2B5EF4-FFF2-40B4-BE49-F238E27FC236}">
                <a16:creationId xmlns:a16="http://schemas.microsoft.com/office/drawing/2014/main" id="{D6912C2D-8E68-655E-7449-B4AEAC77C507}"/>
              </a:ext>
            </a:extLst>
          </p:cNvPr>
          <p:cNvSpPr/>
          <p:nvPr/>
        </p:nvSpPr>
        <p:spPr>
          <a:xfrm>
            <a:off x="18848836" y="5295306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2" name="Elipse 91">
            <a:extLst>
              <a:ext uri="{FF2B5EF4-FFF2-40B4-BE49-F238E27FC236}">
                <a16:creationId xmlns:a16="http://schemas.microsoft.com/office/drawing/2014/main" id="{03410EF1-F7C5-D5E2-5CE4-9227DA869DAF}"/>
              </a:ext>
            </a:extLst>
          </p:cNvPr>
          <p:cNvSpPr/>
          <p:nvPr/>
        </p:nvSpPr>
        <p:spPr>
          <a:xfrm>
            <a:off x="20580866" y="5198678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93" name="Elipse 92">
            <a:extLst>
              <a:ext uri="{FF2B5EF4-FFF2-40B4-BE49-F238E27FC236}">
                <a16:creationId xmlns:a16="http://schemas.microsoft.com/office/drawing/2014/main" id="{E96E00A0-778E-70E8-DF52-276816123148}"/>
              </a:ext>
            </a:extLst>
          </p:cNvPr>
          <p:cNvSpPr/>
          <p:nvPr/>
        </p:nvSpPr>
        <p:spPr>
          <a:xfrm>
            <a:off x="21256704" y="5894790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95" name="Elipse 94">
            <a:extLst>
              <a:ext uri="{FF2B5EF4-FFF2-40B4-BE49-F238E27FC236}">
                <a16:creationId xmlns:a16="http://schemas.microsoft.com/office/drawing/2014/main" id="{3F0C1968-2A14-0207-FA1C-AD5E207B4DD4}"/>
              </a:ext>
            </a:extLst>
          </p:cNvPr>
          <p:cNvSpPr/>
          <p:nvPr/>
        </p:nvSpPr>
        <p:spPr>
          <a:xfrm>
            <a:off x="22823254" y="5245068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96" name="Elipse 95">
            <a:extLst>
              <a:ext uri="{FF2B5EF4-FFF2-40B4-BE49-F238E27FC236}">
                <a16:creationId xmlns:a16="http://schemas.microsoft.com/office/drawing/2014/main" id="{4B802A09-0BF9-98E8-5394-F1BB8AD242D4}"/>
              </a:ext>
            </a:extLst>
          </p:cNvPr>
          <p:cNvSpPr/>
          <p:nvPr/>
        </p:nvSpPr>
        <p:spPr>
          <a:xfrm>
            <a:off x="22368045" y="5892308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97" name="Elipse 96">
            <a:extLst>
              <a:ext uri="{FF2B5EF4-FFF2-40B4-BE49-F238E27FC236}">
                <a16:creationId xmlns:a16="http://schemas.microsoft.com/office/drawing/2014/main" id="{BCA73E03-43B0-DAB3-3C04-56030D9A86A5}"/>
              </a:ext>
            </a:extLst>
          </p:cNvPr>
          <p:cNvSpPr/>
          <p:nvPr/>
        </p:nvSpPr>
        <p:spPr>
          <a:xfrm>
            <a:off x="23257144" y="5827782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98" name="Elipse 97">
            <a:extLst>
              <a:ext uri="{FF2B5EF4-FFF2-40B4-BE49-F238E27FC236}">
                <a16:creationId xmlns:a16="http://schemas.microsoft.com/office/drawing/2014/main" id="{1CED5126-EE17-A1B8-D38D-A49BF8A1D11B}"/>
              </a:ext>
            </a:extLst>
          </p:cNvPr>
          <p:cNvSpPr/>
          <p:nvPr/>
        </p:nvSpPr>
        <p:spPr>
          <a:xfrm>
            <a:off x="21907585" y="5157459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99" name="Elipse 98">
            <a:extLst>
              <a:ext uri="{FF2B5EF4-FFF2-40B4-BE49-F238E27FC236}">
                <a16:creationId xmlns:a16="http://schemas.microsoft.com/office/drawing/2014/main" id="{ACFEAE80-A6A5-C396-01C6-C07089961110}"/>
              </a:ext>
            </a:extLst>
          </p:cNvPr>
          <p:cNvSpPr/>
          <p:nvPr/>
        </p:nvSpPr>
        <p:spPr>
          <a:xfrm>
            <a:off x="23303096" y="6552970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6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00" name="Elipse 99">
            <a:extLst>
              <a:ext uri="{FF2B5EF4-FFF2-40B4-BE49-F238E27FC236}">
                <a16:creationId xmlns:a16="http://schemas.microsoft.com/office/drawing/2014/main" id="{1C698CE3-4D3D-E0F4-6F17-A4D52D10B779}"/>
              </a:ext>
            </a:extLst>
          </p:cNvPr>
          <p:cNvSpPr/>
          <p:nvPr/>
        </p:nvSpPr>
        <p:spPr>
          <a:xfrm>
            <a:off x="22583011" y="6665809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01" name="Elipse 100">
            <a:extLst>
              <a:ext uri="{FF2B5EF4-FFF2-40B4-BE49-F238E27FC236}">
                <a16:creationId xmlns:a16="http://schemas.microsoft.com/office/drawing/2014/main" id="{36737A6B-114B-1535-F631-7A30FCEA261E}"/>
              </a:ext>
            </a:extLst>
          </p:cNvPr>
          <p:cNvSpPr/>
          <p:nvPr/>
        </p:nvSpPr>
        <p:spPr>
          <a:xfrm>
            <a:off x="21475422" y="6870479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102" name="Elipse 101">
            <a:extLst>
              <a:ext uri="{FF2B5EF4-FFF2-40B4-BE49-F238E27FC236}">
                <a16:creationId xmlns:a16="http://schemas.microsoft.com/office/drawing/2014/main" id="{A85EA9E6-A10F-A3F2-64CA-CA609B26B651}"/>
              </a:ext>
            </a:extLst>
          </p:cNvPr>
          <p:cNvSpPr/>
          <p:nvPr/>
        </p:nvSpPr>
        <p:spPr>
          <a:xfrm>
            <a:off x="20749878" y="8093911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03" name="Elipse 102">
            <a:extLst>
              <a:ext uri="{FF2B5EF4-FFF2-40B4-BE49-F238E27FC236}">
                <a16:creationId xmlns:a16="http://schemas.microsoft.com/office/drawing/2014/main" id="{DEAC0CE8-11CE-BEFF-AA3A-17D62E3C49B4}"/>
              </a:ext>
            </a:extLst>
          </p:cNvPr>
          <p:cNvSpPr/>
          <p:nvPr/>
        </p:nvSpPr>
        <p:spPr>
          <a:xfrm>
            <a:off x="19598314" y="7747404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104" name="Elipse 103">
            <a:extLst>
              <a:ext uri="{FF2B5EF4-FFF2-40B4-BE49-F238E27FC236}">
                <a16:creationId xmlns:a16="http://schemas.microsoft.com/office/drawing/2014/main" id="{AA77C3DD-63EE-1183-48CF-2D54DFEC452F}"/>
              </a:ext>
            </a:extLst>
          </p:cNvPr>
          <p:cNvSpPr/>
          <p:nvPr/>
        </p:nvSpPr>
        <p:spPr>
          <a:xfrm>
            <a:off x="21104832" y="9201299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105" name="Elipse 104">
            <a:extLst>
              <a:ext uri="{FF2B5EF4-FFF2-40B4-BE49-F238E27FC236}">
                <a16:creationId xmlns:a16="http://schemas.microsoft.com/office/drawing/2014/main" id="{113A1D43-4941-577B-E10C-18AD9E7F6FC3}"/>
              </a:ext>
            </a:extLst>
          </p:cNvPr>
          <p:cNvSpPr/>
          <p:nvPr/>
        </p:nvSpPr>
        <p:spPr>
          <a:xfrm>
            <a:off x="19721037" y="9043240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106" name="Elipse 105">
            <a:extLst>
              <a:ext uri="{FF2B5EF4-FFF2-40B4-BE49-F238E27FC236}">
                <a16:creationId xmlns:a16="http://schemas.microsoft.com/office/drawing/2014/main" id="{B7D2CBDF-4615-9112-2B2E-1BAB28A42449}"/>
              </a:ext>
            </a:extLst>
          </p:cNvPr>
          <p:cNvSpPr/>
          <p:nvPr/>
        </p:nvSpPr>
        <p:spPr>
          <a:xfrm>
            <a:off x="18925494" y="9550769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107" name="CaixaDeTexto 106">
            <a:extLst>
              <a:ext uri="{FF2B5EF4-FFF2-40B4-BE49-F238E27FC236}">
                <a16:creationId xmlns:a16="http://schemas.microsoft.com/office/drawing/2014/main" id="{4562EE3E-D8C4-79B7-DCF5-638A3776D02C}"/>
              </a:ext>
            </a:extLst>
          </p:cNvPr>
          <p:cNvSpPr txBox="1"/>
          <p:nvPr/>
        </p:nvSpPr>
        <p:spPr>
          <a:xfrm>
            <a:off x="13055596" y="8603821"/>
            <a:ext cx="4796679" cy="2385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TA CATARINA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PITAIS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endParaRPr lang="pt-BR" sz="25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000" b="1" spc="21" dirty="0">
                <a:solidFill>
                  <a:srgbClr val="F49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O GRANDE DO SUL</a:t>
            </a:r>
          </a:p>
          <a:p>
            <a:pPr defTabSz="949902">
              <a:buClr>
                <a:schemeClr val="tx1">
                  <a:lumMod val="85000"/>
                  <a:lumOff val="15000"/>
                </a:schemeClr>
              </a:buClr>
              <a:buSzPct val="75000"/>
            </a:pPr>
            <a:r>
              <a:rPr lang="pt-BR" sz="3200" b="1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pt-BR" sz="25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</a:t>
            </a:r>
            <a:endParaRPr lang="pt-BR" sz="2500" dirty="0"/>
          </a:p>
        </p:txBody>
      </p:sp>
      <p:sp>
        <p:nvSpPr>
          <p:cNvPr id="108" name="Elipse 107">
            <a:extLst>
              <a:ext uri="{FF2B5EF4-FFF2-40B4-BE49-F238E27FC236}">
                <a16:creationId xmlns:a16="http://schemas.microsoft.com/office/drawing/2014/main" id="{71A9D105-25EF-08D6-90F6-C46151B048A8}"/>
              </a:ext>
            </a:extLst>
          </p:cNvPr>
          <p:cNvSpPr/>
          <p:nvPr/>
        </p:nvSpPr>
        <p:spPr>
          <a:xfrm>
            <a:off x="12279526" y="8825839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109" name="Elipse 108">
            <a:extLst>
              <a:ext uri="{FF2B5EF4-FFF2-40B4-BE49-F238E27FC236}">
                <a16:creationId xmlns:a16="http://schemas.microsoft.com/office/drawing/2014/main" id="{876053F8-C4E5-5F97-DA59-2FD64B970B88}"/>
              </a:ext>
            </a:extLst>
          </p:cNvPr>
          <p:cNvSpPr/>
          <p:nvPr/>
        </p:nvSpPr>
        <p:spPr>
          <a:xfrm>
            <a:off x="12285335" y="10084797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10" name="Elipse 109">
            <a:extLst>
              <a:ext uri="{FF2B5EF4-FFF2-40B4-BE49-F238E27FC236}">
                <a16:creationId xmlns:a16="http://schemas.microsoft.com/office/drawing/2014/main" id="{929BF268-72E3-43CE-B2C1-0C137F4A7E18}"/>
              </a:ext>
            </a:extLst>
          </p:cNvPr>
          <p:cNvSpPr/>
          <p:nvPr/>
        </p:nvSpPr>
        <p:spPr>
          <a:xfrm>
            <a:off x="19592610" y="10151874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111" name="Elipse 110">
            <a:extLst>
              <a:ext uri="{FF2B5EF4-FFF2-40B4-BE49-F238E27FC236}">
                <a16:creationId xmlns:a16="http://schemas.microsoft.com/office/drawing/2014/main" id="{F982C983-AF51-6063-BB1D-74C0F375D864}"/>
              </a:ext>
            </a:extLst>
          </p:cNvPr>
          <p:cNvSpPr/>
          <p:nvPr/>
        </p:nvSpPr>
        <p:spPr>
          <a:xfrm>
            <a:off x="18735007" y="10647732"/>
            <a:ext cx="664113" cy="6641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spc="-300" dirty="0">
                <a:solidFill>
                  <a:srgbClr val="0054B7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9978088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308DF50-21CF-4FC1-A9B2-9AC59F89F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7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Hapvida</a:t>
            </a: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 e </a:t>
            </a:r>
            <a:r>
              <a:rPr lang="pt-BR" sz="7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NotreDame</a:t>
            </a: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 Intermédica:</a:t>
            </a:r>
            <a:b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</a:br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Dois Gigantes se unem</a:t>
            </a:r>
          </a:p>
        </p:txBody>
      </p:sp>
      <p:grpSp>
        <p:nvGrpSpPr>
          <p:cNvPr id="34" name="Agrupar 33">
            <a:extLst>
              <a:ext uri="{FF2B5EF4-FFF2-40B4-BE49-F238E27FC236}">
                <a16:creationId xmlns:a16="http://schemas.microsoft.com/office/drawing/2014/main" id="{2071559B-B54B-62BD-8DB6-7D4DC40BB80E}"/>
              </a:ext>
            </a:extLst>
          </p:cNvPr>
          <p:cNvGrpSpPr/>
          <p:nvPr/>
        </p:nvGrpSpPr>
        <p:grpSpPr>
          <a:xfrm>
            <a:off x="11077215" y="6112391"/>
            <a:ext cx="5485787" cy="4520632"/>
            <a:chOff x="5257163" y="2394900"/>
            <a:chExt cx="4261773" cy="3511968"/>
          </a:xfrm>
        </p:grpSpPr>
        <p:grpSp>
          <p:nvGrpSpPr>
            <p:cNvPr id="121" name="Agrupar 120">
              <a:extLst>
                <a:ext uri="{FF2B5EF4-FFF2-40B4-BE49-F238E27FC236}">
                  <a16:creationId xmlns:a16="http://schemas.microsoft.com/office/drawing/2014/main" id="{0806E258-CA22-F42A-15CC-E276226426F0}"/>
                </a:ext>
              </a:extLst>
            </p:cNvPr>
            <p:cNvGrpSpPr/>
            <p:nvPr/>
          </p:nvGrpSpPr>
          <p:grpSpPr>
            <a:xfrm>
              <a:off x="5257163" y="2394900"/>
              <a:ext cx="4261773" cy="3511968"/>
              <a:chOff x="5257163" y="2394900"/>
              <a:chExt cx="4261773" cy="3511968"/>
            </a:xfrm>
          </p:grpSpPr>
          <p:sp>
            <p:nvSpPr>
              <p:cNvPr id="145" name="Forma Livre: Forma 144">
                <a:extLst>
                  <a:ext uri="{FF2B5EF4-FFF2-40B4-BE49-F238E27FC236}">
                    <a16:creationId xmlns:a16="http://schemas.microsoft.com/office/drawing/2014/main" id="{4520005A-3CD7-D92D-1535-CBE90DBD74AB}"/>
                  </a:ext>
                </a:extLst>
              </p:cNvPr>
              <p:cNvSpPr/>
              <p:nvPr/>
            </p:nvSpPr>
            <p:spPr>
              <a:xfrm>
                <a:off x="5731878" y="2394906"/>
                <a:ext cx="1656772" cy="1458336"/>
              </a:xfrm>
              <a:custGeom>
                <a:avLst/>
                <a:gdLst>
                  <a:gd name="connsiteX0" fmla="*/ 747836 w 1656772"/>
                  <a:gd name="connsiteY0" fmla="*/ 1456794 h 1458336"/>
                  <a:gd name="connsiteX1" fmla="*/ 47830 w 1656772"/>
                  <a:gd name="connsiteY1" fmla="*/ 929788 h 1458336"/>
                  <a:gd name="connsiteX2" fmla="*/ 23776 w 1656772"/>
                  <a:gd name="connsiteY2" fmla="*/ 755587 h 1458336"/>
                  <a:gd name="connsiteX3" fmla="*/ 27784 w 1656772"/>
                  <a:gd name="connsiteY3" fmla="*/ 750576 h 1458336"/>
                  <a:gd name="connsiteX4" fmla="*/ 69278 w 1656772"/>
                  <a:gd name="connsiteY4" fmla="*/ 703067 h 1458336"/>
                  <a:gd name="connsiteX5" fmla="*/ 1524416 w 1656772"/>
                  <a:gd name="connsiteY5" fmla="*/ -1348 h 1458336"/>
                  <a:gd name="connsiteX6" fmla="*/ 1655116 w 1656772"/>
                  <a:gd name="connsiteY6" fmla="*/ 115722 h 1458336"/>
                  <a:gd name="connsiteX7" fmla="*/ 1655314 w 1656772"/>
                  <a:gd name="connsiteY7" fmla="*/ 122738 h 1458336"/>
                  <a:gd name="connsiteX8" fmla="*/ 1655314 w 1656772"/>
                  <a:gd name="connsiteY8" fmla="*/ 998343 h 1458336"/>
                  <a:gd name="connsiteX9" fmla="*/ 813384 w 1656772"/>
                  <a:gd name="connsiteY9" fmla="*/ 1376811 h 1458336"/>
                  <a:gd name="connsiteX10" fmla="*/ 747836 w 1656772"/>
                  <a:gd name="connsiteY10" fmla="*/ 1456794 h 1458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56772" h="1458336">
                    <a:moveTo>
                      <a:pt x="747836" y="1456794"/>
                    </a:moveTo>
                    <a:lnTo>
                      <a:pt x="47830" y="929788"/>
                    </a:lnTo>
                    <a:cubicBezTo>
                      <a:pt x="-6895" y="888291"/>
                      <a:pt x="-17720" y="810513"/>
                      <a:pt x="23776" y="755587"/>
                    </a:cubicBezTo>
                    <a:cubicBezTo>
                      <a:pt x="24978" y="753984"/>
                      <a:pt x="26382" y="752181"/>
                      <a:pt x="27784" y="750576"/>
                    </a:cubicBezTo>
                    <a:cubicBezTo>
                      <a:pt x="41216" y="734540"/>
                      <a:pt x="55047" y="718703"/>
                      <a:pt x="69278" y="703067"/>
                    </a:cubicBezTo>
                    <a:cubicBezTo>
                      <a:pt x="442534" y="285711"/>
                      <a:pt x="965534" y="32531"/>
                      <a:pt x="1524416" y="-1348"/>
                    </a:cubicBezTo>
                    <a:cubicBezTo>
                      <a:pt x="1592771" y="-5155"/>
                      <a:pt x="1651306" y="47365"/>
                      <a:pt x="1655116" y="115722"/>
                    </a:cubicBezTo>
                    <a:cubicBezTo>
                      <a:pt x="1655314" y="118128"/>
                      <a:pt x="1655314" y="120332"/>
                      <a:pt x="1655314" y="122738"/>
                    </a:cubicBezTo>
                    <a:lnTo>
                      <a:pt x="1655314" y="998343"/>
                    </a:lnTo>
                    <a:cubicBezTo>
                      <a:pt x="1333377" y="998143"/>
                      <a:pt x="1026874" y="1135858"/>
                      <a:pt x="813384" y="1376811"/>
                    </a:cubicBezTo>
                    <a:cubicBezTo>
                      <a:pt x="790132" y="1402470"/>
                      <a:pt x="768281" y="1429130"/>
                      <a:pt x="747836" y="1456794"/>
                    </a:cubicBezTo>
                    <a:close/>
                  </a:path>
                </a:pathLst>
              </a:custGeom>
              <a:solidFill>
                <a:srgbClr val="0054B8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6" name="Forma Livre: Forma 145">
                <a:extLst>
                  <a:ext uri="{FF2B5EF4-FFF2-40B4-BE49-F238E27FC236}">
                    <a16:creationId xmlns:a16="http://schemas.microsoft.com/office/drawing/2014/main" id="{C503873D-A380-D46B-59C5-950F302C1387}"/>
                  </a:ext>
                </a:extLst>
              </p:cNvPr>
              <p:cNvSpPr/>
              <p:nvPr/>
            </p:nvSpPr>
            <p:spPr>
              <a:xfrm>
                <a:off x="8215947" y="4597749"/>
                <a:ext cx="1287527" cy="1309119"/>
              </a:xfrm>
              <a:custGeom>
                <a:avLst/>
                <a:gdLst>
                  <a:gd name="connsiteX0" fmla="*/ 294821 w 1287527"/>
                  <a:gd name="connsiteY0" fmla="*/ -1542 h 1309119"/>
                  <a:gd name="connsiteX1" fmla="*/ 1168623 w 1287527"/>
                  <a:gd name="connsiteY1" fmla="*/ 46167 h 1309119"/>
                  <a:gd name="connsiteX2" fmla="*/ 1285894 w 1287527"/>
                  <a:gd name="connsiteY2" fmla="*/ 176265 h 1309119"/>
                  <a:gd name="connsiteX3" fmla="*/ 1285292 w 1287527"/>
                  <a:gd name="connsiteY3" fmla="*/ 184484 h 1309119"/>
                  <a:gd name="connsiteX4" fmla="*/ 827242 w 1287527"/>
                  <a:gd name="connsiteY4" fmla="*/ 1262155 h 1309119"/>
                  <a:gd name="connsiteX5" fmla="*/ 653242 w 1287527"/>
                  <a:gd name="connsiteY5" fmla="*/ 1279595 h 1309119"/>
                  <a:gd name="connsiteX6" fmla="*/ 648030 w 1287527"/>
                  <a:gd name="connsiteY6" fmla="*/ 1275185 h 1309119"/>
                  <a:gd name="connsiteX7" fmla="*/ -1459 w 1287527"/>
                  <a:gd name="connsiteY7" fmla="*/ 686835 h 1309119"/>
                  <a:gd name="connsiteX8" fmla="*/ 294821 w 1287527"/>
                  <a:gd name="connsiteY8" fmla="*/ -1542 h 1309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87527" h="1309119">
                    <a:moveTo>
                      <a:pt x="294821" y="-1542"/>
                    </a:moveTo>
                    <a:lnTo>
                      <a:pt x="1168623" y="46167"/>
                    </a:lnTo>
                    <a:cubicBezTo>
                      <a:pt x="1236980" y="49776"/>
                      <a:pt x="1289501" y="107910"/>
                      <a:pt x="1285894" y="176265"/>
                    </a:cubicBezTo>
                    <a:cubicBezTo>
                      <a:pt x="1285894" y="179072"/>
                      <a:pt x="1285693" y="181678"/>
                      <a:pt x="1285292" y="184484"/>
                    </a:cubicBezTo>
                    <a:cubicBezTo>
                      <a:pt x="1236780" y="579589"/>
                      <a:pt x="1078015" y="953045"/>
                      <a:pt x="827242" y="1262155"/>
                    </a:cubicBezTo>
                    <a:cubicBezTo>
                      <a:pt x="783942" y="1315076"/>
                      <a:pt x="706164" y="1322894"/>
                      <a:pt x="653242" y="1279595"/>
                    </a:cubicBezTo>
                    <a:cubicBezTo>
                      <a:pt x="651439" y="1278190"/>
                      <a:pt x="649633" y="1276788"/>
                      <a:pt x="648030" y="1275185"/>
                    </a:cubicBezTo>
                    <a:lnTo>
                      <a:pt x="-1459" y="686835"/>
                    </a:lnTo>
                    <a:cubicBezTo>
                      <a:pt x="173143" y="498003"/>
                      <a:pt x="277782" y="255047"/>
                      <a:pt x="294821" y="-1542"/>
                    </a:cubicBezTo>
                    <a:close/>
                  </a:path>
                </a:pathLst>
              </a:custGeom>
              <a:solidFill>
                <a:srgbClr val="F79800"/>
              </a:solidFill>
              <a:ln w="20029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7" name="Forma Livre: Forma 146">
                <a:extLst>
                  <a:ext uri="{FF2B5EF4-FFF2-40B4-BE49-F238E27FC236}">
                    <a16:creationId xmlns:a16="http://schemas.microsoft.com/office/drawing/2014/main" id="{B14F4595-4F33-9022-946B-74B1BC4776B0}"/>
                  </a:ext>
                </a:extLst>
              </p:cNvPr>
              <p:cNvSpPr/>
              <p:nvPr/>
            </p:nvSpPr>
            <p:spPr>
              <a:xfrm>
                <a:off x="5273137" y="4597749"/>
                <a:ext cx="1287617" cy="1309102"/>
              </a:xfrm>
              <a:custGeom>
                <a:avLst/>
                <a:gdLst>
                  <a:gd name="connsiteX0" fmla="*/ 989678 w 1287617"/>
                  <a:gd name="connsiteY0" fmla="*/ -1542 h 1309102"/>
                  <a:gd name="connsiteX1" fmla="*/ 1286158 w 1287617"/>
                  <a:gd name="connsiteY1" fmla="*/ 686835 h 1309102"/>
                  <a:gd name="connsiteX2" fmla="*/ 636468 w 1287617"/>
                  <a:gd name="connsiteY2" fmla="*/ 1275185 h 1309102"/>
                  <a:gd name="connsiteX3" fmla="*/ 462069 w 1287617"/>
                  <a:gd name="connsiteY3" fmla="*/ 1267367 h 1309102"/>
                  <a:gd name="connsiteX4" fmla="*/ 457459 w 1287617"/>
                  <a:gd name="connsiteY4" fmla="*/ 1262155 h 1309102"/>
                  <a:gd name="connsiteX5" fmla="*/ -593 w 1287617"/>
                  <a:gd name="connsiteY5" fmla="*/ 184484 h 1309102"/>
                  <a:gd name="connsiteX6" fmla="*/ 107857 w 1287617"/>
                  <a:gd name="connsiteY6" fmla="*/ 46769 h 1309102"/>
                  <a:gd name="connsiteX7" fmla="*/ 116076 w 1287617"/>
                  <a:gd name="connsiteY7" fmla="*/ 46167 h 1309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87617" h="1309102">
                    <a:moveTo>
                      <a:pt x="989678" y="-1542"/>
                    </a:moveTo>
                    <a:cubicBezTo>
                      <a:pt x="1006716" y="255047"/>
                      <a:pt x="1111358" y="498204"/>
                      <a:pt x="1286158" y="686835"/>
                    </a:cubicBezTo>
                    <a:lnTo>
                      <a:pt x="636468" y="1275185"/>
                    </a:lnTo>
                    <a:cubicBezTo>
                      <a:pt x="586153" y="1321289"/>
                      <a:pt x="507973" y="1317682"/>
                      <a:pt x="462069" y="1267367"/>
                    </a:cubicBezTo>
                    <a:cubicBezTo>
                      <a:pt x="460464" y="1265762"/>
                      <a:pt x="458861" y="1263958"/>
                      <a:pt x="457459" y="1262155"/>
                    </a:cubicBezTo>
                    <a:cubicBezTo>
                      <a:pt x="206484" y="953045"/>
                      <a:pt x="47719" y="579589"/>
                      <a:pt x="-593" y="184484"/>
                    </a:cubicBezTo>
                    <a:cubicBezTo>
                      <a:pt x="-8609" y="116528"/>
                      <a:pt x="39901" y="54988"/>
                      <a:pt x="107857" y="46769"/>
                    </a:cubicBezTo>
                    <a:cubicBezTo>
                      <a:pt x="110663" y="46568"/>
                      <a:pt x="113269" y="46368"/>
                      <a:pt x="116076" y="46167"/>
                    </a:cubicBezTo>
                    <a:close/>
                  </a:path>
                </a:pathLst>
              </a:custGeom>
              <a:solidFill>
                <a:srgbClr val="0054B8"/>
              </a:solidFill>
              <a:ln w="20029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8" name="Forma Livre: Forma 147">
                <a:extLst>
                  <a:ext uri="{FF2B5EF4-FFF2-40B4-BE49-F238E27FC236}">
                    <a16:creationId xmlns:a16="http://schemas.microsoft.com/office/drawing/2014/main" id="{3B90B891-D384-4866-A6FB-7F5488CDF0C2}"/>
                  </a:ext>
                </a:extLst>
              </p:cNvPr>
              <p:cNvSpPr/>
              <p:nvPr/>
            </p:nvSpPr>
            <p:spPr>
              <a:xfrm>
                <a:off x="7388650" y="2394900"/>
                <a:ext cx="1532664" cy="1378359"/>
              </a:xfrm>
              <a:custGeom>
                <a:avLst/>
                <a:gdLst>
                  <a:gd name="connsiteX0" fmla="*/ 1489961 w 1532664"/>
                  <a:gd name="connsiteY0" fmla="*/ 788469 h 1378359"/>
                  <a:gd name="connsiteX1" fmla="*/ 840471 w 1532664"/>
                  <a:gd name="connsiteY1" fmla="*/ 1376817 h 1378359"/>
                  <a:gd name="connsiteX2" fmla="*/ -1459 w 1532664"/>
                  <a:gd name="connsiteY2" fmla="*/ 998349 h 1378359"/>
                  <a:gd name="connsiteX3" fmla="*/ -1459 w 1532664"/>
                  <a:gd name="connsiteY3" fmla="*/ 122744 h 1378359"/>
                  <a:gd name="connsiteX4" fmla="*/ 122427 w 1532664"/>
                  <a:gd name="connsiteY4" fmla="*/ -1542 h 1378359"/>
                  <a:gd name="connsiteX5" fmla="*/ 129442 w 1532664"/>
                  <a:gd name="connsiteY5" fmla="*/ -1342 h 1378359"/>
                  <a:gd name="connsiteX6" fmla="*/ 1494972 w 1532664"/>
                  <a:gd name="connsiteY6" fmla="*/ 609059 h 1378359"/>
                  <a:gd name="connsiteX7" fmla="*/ 1494972 w 1532664"/>
                  <a:gd name="connsiteY7" fmla="*/ 783658 h 1378359"/>
                  <a:gd name="connsiteX8" fmla="*/ 1489961 w 1532664"/>
                  <a:gd name="connsiteY8" fmla="*/ 788469 h 1378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32664" h="1378359">
                    <a:moveTo>
                      <a:pt x="1489961" y="788469"/>
                    </a:moveTo>
                    <a:lnTo>
                      <a:pt x="840471" y="1376817"/>
                    </a:lnTo>
                    <a:cubicBezTo>
                      <a:pt x="626984" y="1135864"/>
                      <a:pt x="320481" y="998149"/>
                      <a:pt x="-1459" y="998349"/>
                    </a:cubicBezTo>
                    <a:lnTo>
                      <a:pt x="-1459" y="122744"/>
                    </a:lnTo>
                    <a:cubicBezTo>
                      <a:pt x="-1657" y="54186"/>
                      <a:pt x="53869" y="-1342"/>
                      <a:pt x="122427" y="-1542"/>
                    </a:cubicBezTo>
                    <a:cubicBezTo>
                      <a:pt x="124832" y="-1542"/>
                      <a:pt x="127037" y="-1542"/>
                      <a:pt x="129442" y="-1342"/>
                    </a:cubicBezTo>
                    <a:cubicBezTo>
                      <a:pt x="643621" y="29730"/>
                      <a:pt x="1128933" y="246626"/>
                      <a:pt x="1494972" y="609059"/>
                    </a:cubicBezTo>
                    <a:cubicBezTo>
                      <a:pt x="1543284" y="657167"/>
                      <a:pt x="1543284" y="735547"/>
                      <a:pt x="1494972" y="783658"/>
                    </a:cubicBezTo>
                    <a:cubicBezTo>
                      <a:pt x="1493369" y="785261"/>
                      <a:pt x="1491767" y="786866"/>
                      <a:pt x="1489961" y="788469"/>
                    </a:cubicBezTo>
                    <a:close/>
                  </a:path>
                </a:pathLst>
              </a:custGeom>
              <a:solidFill>
                <a:srgbClr val="F79800"/>
              </a:solidFill>
              <a:ln w="20029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9" name="Forma Livre: Forma 148">
                <a:extLst>
                  <a:ext uri="{FF2B5EF4-FFF2-40B4-BE49-F238E27FC236}">
                    <a16:creationId xmlns:a16="http://schemas.microsoft.com/office/drawing/2014/main" id="{DADC84A1-FF84-2BA0-1A76-FD3C8EA345A0}"/>
                  </a:ext>
                </a:extLst>
              </p:cNvPr>
              <p:cNvSpPr/>
              <p:nvPr/>
            </p:nvSpPr>
            <p:spPr>
              <a:xfrm>
                <a:off x="5257163" y="3301364"/>
                <a:ext cx="1224009" cy="1344311"/>
              </a:xfrm>
              <a:custGeom>
                <a:avLst/>
                <a:gdLst>
                  <a:gd name="connsiteX0" fmla="*/ 523548 w 1224009"/>
                  <a:gd name="connsiteY0" fmla="*/ 23929 h 1344311"/>
                  <a:gd name="connsiteX1" fmla="*/ 1222550 w 1224009"/>
                  <a:gd name="connsiteY1" fmla="*/ 550336 h 1344311"/>
                  <a:gd name="connsiteX2" fmla="*/ 1002045 w 1224009"/>
                  <a:gd name="connsiteY2" fmla="*/ 1218670 h 1344311"/>
                  <a:gd name="connsiteX3" fmla="*/ 1004849 w 1224009"/>
                  <a:gd name="connsiteY3" fmla="*/ 1294843 h 1344311"/>
                  <a:gd name="connsiteX4" fmla="*/ 129444 w 1224009"/>
                  <a:gd name="connsiteY4" fmla="*/ 1342552 h 1344311"/>
                  <a:gd name="connsiteX5" fmla="*/ -1256 w 1224009"/>
                  <a:gd name="connsiteY5" fmla="*/ 1226287 h 1344311"/>
                  <a:gd name="connsiteX6" fmla="*/ -1457 w 1224009"/>
                  <a:gd name="connsiteY6" fmla="*/ 1220072 h 1344311"/>
                  <a:gd name="connsiteX7" fmla="*/ -1457 w 1224009"/>
                  <a:gd name="connsiteY7" fmla="*/ 1218670 h 1344311"/>
                  <a:gd name="connsiteX8" fmla="*/ 344537 w 1224009"/>
                  <a:gd name="connsiteY8" fmla="*/ 54400 h 1344311"/>
                  <a:gd name="connsiteX9" fmla="*/ 516329 w 1224009"/>
                  <a:gd name="connsiteY9" fmla="*/ 18918 h 1344311"/>
                  <a:gd name="connsiteX10" fmla="*/ 523548 w 1224009"/>
                  <a:gd name="connsiteY10" fmla="*/ 23929 h 1344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24009" h="1344311">
                    <a:moveTo>
                      <a:pt x="523548" y="23929"/>
                    </a:moveTo>
                    <a:lnTo>
                      <a:pt x="1222550" y="550336"/>
                    </a:lnTo>
                    <a:cubicBezTo>
                      <a:pt x="1079221" y="743579"/>
                      <a:pt x="1001844" y="977918"/>
                      <a:pt x="1002045" y="1218670"/>
                    </a:cubicBezTo>
                    <a:cubicBezTo>
                      <a:pt x="1002045" y="1244327"/>
                      <a:pt x="1003246" y="1269585"/>
                      <a:pt x="1004849" y="1294843"/>
                    </a:cubicBezTo>
                    <a:lnTo>
                      <a:pt x="129444" y="1342552"/>
                    </a:lnTo>
                    <a:cubicBezTo>
                      <a:pt x="61287" y="1346563"/>
                      <a:pt x="2752" y="1294441"/>
                      <a:pt x="-1256" y="1226287"/>
                    </a:cubicBezTo>
                    <a:cubicBezTo>
                      <a:pt x="-1457" y="1224281"/>
                      <a:pt x="-1457" y="1222076"/>
                      <a:pt x="-1457" y="1220072"/>
                    </a:cubicBezTo>
                    <a:lnTo>
                      <a:pt x="-1457" y="1218670"/>
                    </a:lnTo>
                    <a:cubicBezTo>
                      <a:pt x="-2059" y="805122"/>
                      <a:pt x="118217" y="400393"/>
                      <a:pt x="344537" y="54400"/>
                    </a:cubicBezTo>
                    <a:cubicBezTo>
                      <a:pt x="382223" y="-2932"/>
                      <a:pt x="459199" y="-18769"/>
                      <a:pt x="516329" y="18918"/>
                    </a:cubicBezTo>
                    <a:cubicBezTo>
                      <a:pt x="518735" y="20523"/>
                      <a:pt x="521142" y="22126"/>
                      <a:pt x="523548" y="23929"/>
                    </a:cubicBezTo>
                    <a:close/>
                  </a:path>
                </a:pathLst>
              </a:custGeom>
              <a:solidFill>
                <a:srgbClr val="F79800"/>
              </a:solidFill>
              <a:ln w="20029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50" name="Forma Livre: Forma 149">
                <a:extLst>
                  <a:ext uri="{FF2B5EF4-FFF2-40B4-BE49-F238E27FC236}">
                    <a16:creationId xmlns:a16="http://schemas.microsoft.com/office/drawing/2014/main" id="{138E7D86-5E89-8D7D-CD56-A5B4CC24E928}"/>
                  </a:ext>
                </a:extLst>
              </p:cNvPr>
              <p:cNvSpPr/>
              <p:nvPr/>
            </p:nvSpPr>
            <p:spPr>
              <a:xfrm>
                <a:off x="8230781" y="3153447"/>
                <a:ext cx="1288155" cy="1492217"/>
              </a:xfrm>
              <a:custGeom>
                <a:avLst/>
                <a:gdLst>
                  <a:gd name="connsiteX0" fmla="*/ 646829 w 1288155"/>
                  <a:gd name="connsiteY0" fmla="*/ 30925 h 1492217"/>
                  <a:gd name="connsiteX1" fmla="*/ 821629 w 1288155"/>
                  <a:gd name="connsiteY1" fmla="*/ 38543 h 1492217"/>
                  <a:gd name="connsiteX2" fmla="*/ 827242 w 1288155"/>
                  <a:gd name="connsiteY2" fmla="*/ 45157 h 1492217"/>
                  <a:gd name="connsiteX3" fmla="*/ 1286694 w 1288155"/>
                  <a:gd name="connsiteY3" fmla="*/ 1366587 h 1492217"/>
                  <a:gd name="connsiteX4" fmla="*/ 1286694 w 1288155"/>
                  <a:gd name="connsiteY4" fmla="*/ 1367989 h 1492217"/>
                  <a:gd name="connsiteX5" fmla="*/ 1162009 w 1288155"/>
                  <a:gd name="connsiteY5" fmla="*/ 1490670 h 1492217"/>
                  <a:gd name="connsiteX6" fmla="*/ 1155796 w 1288155"/>
                  <a:gd name="connsiteY6" fmla="*/ 1490469 h 1492217"/>
                  <a:gd name="connsiteX7" fmla="*/ 280188 w 1288155"/>
                  <a:gd name="connsiteY7" fmla="*/ 1442760 h 1492217"/>
                  <a:gd name="connsiteX8" fmla="*/ 283195 w 1288155"/>
                  <a:gd name="connsiteY8" fmla="*/ 1366587 h 1492217"/>
                  <a:gd name="connsiteX9" fmla="*/ -1459 w 1288155"/>
                  <a:gd name="connsiteY9" fmla="*/ 618270 h 1492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88155" h="1492217">
                    <a:moveTo>
                      <a:pt x="646829" y="30925"/>
                    </a:moveTo>
                    <a:cubicBezTo>
                      <a:pt x="697144" y="-15181"/>
                      <a:pt x="775322" y="-11773"/>
                      <a:pt x="821629" y="38543"/>
                    </a:cubicBezTo>
                    <a:cubicBezTo>
                      <a:pt x="823633" y="40748"/>
                      <a:pt x="825436" y="42952"/>
                      <a:pt x="827242" y="45157"/>
                    </a:cubicBezTo>
                    <a:cubicBezTo>
                      <a:pt x="1125526" y="421019"/>
                      <a:pt x="1287497" y="886886"/>
                      <a:pt x="1286694" y="1366587"/>
                    </a:cubicBezTo>
                    <a:lnTo>
                      <a:pt x="1286694" y="1367989"/>
                    </a:lnTo>
                    <a:cubicBezTo>
                      <a:pt x="1286094" y="1436346"/>
                      <a:pt x="1230366" y="1491272"/>
                      <a:pt x="1162009" y="1490670"/>
                    </a:cubicBezTo>
                    <a:cubicBezTo>
                      <a:pt x="1160005" y="1490670"/>
                      <a:pt x="1157800" y="1490670"/>
                      <a:pt x="1155796" y="1490469"/>
                    </a:cubicBezTo>
                    <a:lnTo>
                      <a:pt x="280188" y="1442760"/>
                    </a:lnTo>
                    <a:cubicBezTo>
                      <a:pt x="281991" y="1417502"/>
                      <a:pt x="283195" y="1392244"/>
                      <a:pt x="283195" y="1366587"/>
                    </a:cubicBezTo>
                    <a:cubicBezTo>
                      <a:pt x="283596" y="1090554"/>
                      <a:pt x="182163" y="824343"/>
                      <a:pt x="-1459" y="618270"/>
                    </a:cubicBezTo>
                    <a:close/>
                  </a:path>
                </a:pathLst>
              </a:custGeom>
              <a:solidFill>
                <a:srgbClr val="0054B8"/>
              </a:solidFill>
              <a:ln w="20029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22" name="Agrupar 121">
              <a:extLst>
                <a:ext uri="{FF2B5EF4-FFF2-40B4-BE49-F238E27FC236}">
                  <a16:creationId xmlns:a16="http://schemas.microsoft.com/office/drawing/2014/main" id="{61891EBD-3DEE-3E9C-5B6F-A6C41272C5BA}"/>
                </a:ext>
              </a:extLst>
            </p:cNvPr>
            <p:cNvGrpSpPr/>
            <p:nvPr/>
          </p:nvGrpSpPr>
          <p:grpSpPr>
            <a:xfrm>
              <a:off x="5719635" y="4909865"/>
              <a:ext cx="394486" cy="450031"/>
              <a:chOff x="5719635" y="4909865"/>
              <a:chExt cx="394486" cy="450031"/>
            </a:xfrm>
          </p:grpSpPr>
          <p:sp>
            <p:nvSpPr>
              <p:cNvPr id="139" name="Forma Livre: Forma 138">
                <a:extLst>
                  <a:ext uri="{FF2B5EF4-FFF2-40B4-BE49-F238E27FC236}">
                    <a16:creationId xmlns:a16="http://schemas.microsoft.com/office/drawing/2014/main" id="{862DD3B1-7BC4-04CD-699E-1ECA3D422927}"/>
                  </a:ext>
                </a:extLst>
              </p:cNvPr>
              <p:cNvSpPr/>
              <p:nvPr/>
            </p:nvSpPr>
            <p:spPr>
              <a:xfrm>
                <a:off x="5719635" y="5048337"/>
                <a:ext cx="197235" cy="311559"/>
              </a:xfrm>
              <a:custGeom>
                <a:avLst/>
                <a:gdLst>
                  <a:gd name="connsiteX0" fmla="*/ 97157 w 197235"/>
                  <a:gd name="connsiteY0" fmla="*/ -1297 h 311559"/>
                  <a:gd name="connsiteX1" fmla="*/ 15371 w 197235"/>
                  <a:gd name="connsiteY1" fmla="*/ 38795 h 311559"/>
                  <a:gd name="connsiteX2" fmla="*/ 21985 w 197235"/>
                  <a:gd name="connsiteY2" fmla="*/ 206378 h 311559"/>
                  <a:gd name="connsiteX3" fmla="*/ 97157 w 197235"/>
                  <a:gd name="connsiteY3" fmla="*/ 310017 h 311559"/>
                  <a:gd name="connsiteX4" fmla="*/ 172330 w 197235"/>
                  <a:gd name="connsiteY4" fmla="*/ 206378 h 311559"/>
                  <a:gd name="connsiteX5" fmla="*/ 178946 w 197235"/>
                  <a:gd name="connsiteY5" fmla="*/ 38795 h 311559"/>
                  <a:gd name="connsiteX6" fmla="*/ 97157 w 197235"/>
                  <a:gd name="connsiteY6" fmla="*/ -1297 h 311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7235" h="311559">
                    <a:moveTo>
                      <a:pt x="97157" y="-1297"/>
                    </a:moveTo>
                    <a:cubicBezTo>
                      <a:pt x="64683" y="-3703"/>
                      <a:pt x="33413" y="11733"/>
                      <a:pt x="15371" y="38795"/>
                    </a:cubicBezTo>
                    <a:cubicBezTo>
                      <a:pt x="-1668" y="63852"/>
                      <a:pt x="-14497" y="113367"/>
                      <a:pt x="21985" y="206378"/>
                    </a:cubicBezTo>
                    <a:cubicBezTo>
                      <a:pt x="32008" y="232038"/>
                      <a:pt x="62077" y="310017"/>
                      <a:pt x="97157" y="310017"/>
                    </a:cubicBezTo>
                    <a:cubicBezTo>
                      <a:pt x="132238" y="310017"/>
                      <a:pt x="162307" y="232038"/>
                      <a:pt x="172330" y="206378"/>
                    </a:cubicBezTo>
                    <a:cubicBezTo>
                      <a:pt x="208815" y="113367"/>
                      <a:pt x="195985" y="63852"/>
                      <a:pt x="178946" y="38795"/>
                    </a:cubicBezTo>
                    <a:cubicBezTo>
                      <a:pt x="160905" y="11733"/>
                      <a:pt x="129632" y="-3703"/>
                      <a:pt x="97157" y="-1297"/>
                    </a:cubicBezTo>
                  </a:path>
                </a:pathLst>
              </a:custGeom>
              <a:solidFill>
                <a:srgbClr val="94B8D2"/>
              </a:solidFill>
              <a:ln w="10015" cap="flat">
                <a:solidFill>
                  <a:srgbClr val="0054B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0" name="Forma Livre: Forma 139">
                <a:extLst>
                  <a:ext uri="{FF2B5EF4-FFF2-40B4-BE49-F238E27FC236}">
                    <a16:creationId xmlns:a16="http://schemas.microsoft.com/office/drawing/2014/main" id="{5CF5A57E-D23F-F318-5D03-81700813521E}"/>
                  </a:ext>
                </a:extLst>
              </p:cNvPr>
              <p:cNvSpPr/>
              <p:nvPr/>
            </p:nvSpPr>
            <p:spPr>
              <a:xfrm>
                <a:off x="5916886" y="5048337"/>
                <a:ext cx="197235" cy="311559"/>
              </a:xfrm>
              <a:custGeom>
                <a:avLst/>
                <a:gdLst>
                  <a:gd name="connsiteX0" fmla="*/ 97157 w 197235"/>
                  <a:gd name="connsiteY0" fmla="*/ -1297 h 311559"/>
                  <a:gd name="connsiteX1" fmla="*/ 15371 w 197235"/>
                  <a:gd name="connsiteY1" fmla="*/ 38795 h 311559"/>
                  <a:gd name="connsiteX2" fmla="*/ 21985 w 197235"/>
                  <a:gd name="connsiteY2" fmla="*/ 206378 h 311559"/>
                  <a:gd name="connsiteX3" fmla="*/ 97157 w 197235"/>
                  <a:gd name="connsiteY3" fmla="*/ 310017 h 311559"/>
                  <a:gd name="connsiteX4" fmla="*/ 172330 w 197235"/>
                  <a:gd name="connsiteY4" fmla="*/ 206378 h 311559"/>
                  <a:gd name="connsiteX5" fmla="*/ 178946 w 197235"/>
                  <a:gd name="connsiteY5" fmla="*/ 38795 h 311559"/>
                  <a:gd name="connsiteX6" fmla="*/ 97157 w 197235"/>
                  <a:gd name="connsiteY6" fmla="*/ -1297 h 311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7235" h="311559">
                    <a:moveTo>
                      <a:pt x="97157" y="-1297"/>
                    </a:moveTo>
                    <a:cubicBezTo>
                      <a:pt x="64683" y="-3703"/>
                      <a:pt x="33413" y="11733"/>
                      <a:pt x="15371" y="38795"/>
                    </a:cubicBezTo>
                    <a:cubicBezTo>
                      <a:pt x="-1668" y="63852"/>
                      <a:pt x="-14497" y="113367"/>
                      <a:pt x="21985" y="206378"/>
                    </a:cubicBezTo>
                    <a:cubicBezTo>
                      <a:pt x="32008" y="232038"/>
                      <a:pt x="62077" y="310017"/>
                      <a:pt x="97157" y="310017"/>
                    </a:cubicBezTo>
                    <a:cubicBezTo>
                      <a:pt x="132238" y="310017"/>
                      <a:pt x="162307" y="232038"/>
                      <a:pt x="172330" y="206378"/>
                    </a:cubicBezTo>
                    <a:cubicBezTo>
                      <a:pt x="208815" y="113367"/>
                      <a:pt x="195985" y="63852"/>
                      <a:pt x="178946" y="38795"/>
                    </a:cubicBezTo>
                    <a:cubicBezTo>
                      <a:pt x="160905" y="11733"/>
                      <a:pt x="129632" y="-3703"/>
                      <a:pt x="97157" y="-1297"/>
                    </a:cubicBezTo>
                  </a:path>
                </a:pathLst>
              </a:custGeom>
              <a:solidFill>
                <a:srgbClr val="94B8D2"/>
              </a:solidFill>
              <a:ln w="10015" cap="flat">
                <a:solidFill>
                  <a:srgbClr val="0054B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1" name="Forma Livre: Forma 140">
                <a:extLst>
                  <a:ext uri="{FF2B5EF4-FFF2-40B4-BE49-F238E27FC236}">
                    <a16:creationId xmlns:a16="http://schemas.microsoft.com/office/drawing/2014/main" id="{12D57C62-7CEC-AF3E-DCFB-8D27A3FC71D1}"/>
                  </a:ext>
                </a:extLst>
              </p:cNvPr>
              <p:cNvSpPr/>
              <p:nvPr/>
            </p:nvSpPr>
            <p:spPr>
              <a:xfrm>
                <a:off x="5951758" y="4909865"/>
                <a:ext cx="127492" cy="127492"/>
              </a:xfrm>
              <a:custGeom>
                <a:avLst/>
                <a:gdLst>
                  <a:gd name="connsiteX0" fmla="*/ 127492 w 127492"/>
                  <a:gd name="connsiteY0" fmla="*/ 63746 h 127492"/>
                  <a:gd name="connsiteX1" fmla="*/ 63746 w 127492"/>
                  <a:gd name="connsiteY1" fmla="*/ 127492 h 127492"/>
                  <a:gd name="connsiteX2" fmla="*/ 0 w 127492"/>
                  <a:gd name="connsiteY2" fmla="*/ 63746 h 127492"/>
                  <a:gd name="connsiteX3" fmla="*/ 63746 w 127492"/>
                  <a:gd name="connsiteY3" fmla="*/ 0 h 127492"/>
                  <a:gd name="connsiteX4" fmla="*/ 127492 w 127492"/>
                  <a:gd name="connsiteY4" fmla="*/ 63746 h 127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92" h="127492">
                    <a:moveTo>
                      <a:pt x="127492" y="63746"/>
                    </a:moveTo>
                    <a:cubicBezTo>
                      <a:pt x="127492" y="98952"/>
                      <a:pt x="98952" y="127492"/>
                      <a:pt x="63746" y="127492"/>
                    </a:cubicBezTo>
                    <a:cubicBezTo>
                      <a:pt x="28540" y="127492"/>
                      <a:pt x="0" y="98952"/>
                      <a:pt x="0" y="63746"/>
                    </a:cubicBezTo>
                    <a:cubicBezTo>
                      <a:pt x="0" y="28540"/>
                      <a:pt x="28540" y="0"/>
                      <a:pt x="63746" y="0"/>
                    </a:cubicBezTo>
                    <a:cubicBezTo>
                      <a:pt x="98952" y="0"/>
                      <a:pt x="127492" y="28540"/>
                      <a:pt x="127492" y="63746"/>
                    </a:cubicBezTo>
                    <a:close/>
                  </a:path>
                </a:pathLst>
              </a:custGeom>
              <a:solidFill>
                <a:srgbClr val="94B8D2"/>
              </a:solidFill>
              <a:ln w="10015" cap="flat">
                <a:solidFill>
                  <a:srgbClr val="0054B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2" name="Forma Livre: Forma 141">
                <a:extLst>
                  <a:ext uri="{FF2B5EF4-FFF2-40B4-BE49-F238E27FC236}">
                    <a16:creationId xmlns:a16="http://schemas.microsoft.com/office/drawing/2014/main" id="{544446C0-6834-CBB0-0299-D5D8F3303609}"/>
                  </a:ext>
                </a:extLst>
              </p:cNvPr>
              <p:cNvSpPr/>
              <p:nvPr/>
            </p:nvSpPr>
            <p:spPr>
              <a:xfrm>
                <a:off x="5746688" y="4909865"/>
                <a:ext cx="127492" cy="127492"/>
              </a:xfrm>
              <a:custGeom>
                <a:avLst/>
                <a:gdLst>
                  <a:gd name="connsiteX0" fmla="*/ 127492 w 127492"/>
                  <a:gd name="connsiteY0" fmla="*/ 63746 h 127492"/>
                  <a:gd name="connsiteX1" fmla="*/ 63746 w 127492"/>
                  <a:gd name="connsiteY1" fmla="*/ 127492 h 127492"/>
                  <a:gd name="connsiteX2" fmla="*/ 0 w 127492"/>
                  <a:gd name="connsiteY2" fmla="*/ 63746 h 127492"/>
                  <a:gd name="connsiteX3" fmla="*/ 63746 w 127492"/>
                  <a:gd name="connsiteY3" fmla="*/ 0 h 127492"/>
                  <a:gd name="connsiteX4" fmla="*/ 127492 w 127492"/>
                  <a:gd name="connsiteY4" fmla="*/ 63746 h 127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92" h="127492">
                    <a:moveTo>
                      <a:pt x="127492" y="63746"/>
                    </a:moveTo>
                    <a:cubicBezTo>
                      <a:pt x="127492" y="98952"/>
                      <a:pt x="98952" y="127492"/>
                      <a:pt x="63746" y="127492"/>
                    </a:cubicBezTo>
                    <a:cubicBezTo>
                      <a:pt x="28540" y="127492"/>
                      <a:pt x="0" y="98952"/>
                      <a:pt x="0" y="63746"/>
                    </a:cubicBezTo>
                    <a:cubicBezTo>
                      <a:pt x="0" y="28540"/>
                      <a:pt x="28540" y="0"/>
                      <a:pt x="63746" y="0"/>
                    </a:cubicBezTo>
                    <a:cubicBezTo>
                      <a:pt x="98952" y="0"/>
                      <a:pt x="127492" y="28540"/>
                      <a:pt x="127492" y="63746"/>
                    </a:cubicBezTo>
                    <a:close/>
                  </a:path>
                </a:pathLst>
              </a:custGeom>
              <a:solidFill>
                <a:srgbClr val="94B8D2"/>
              </a:solidFill>
              <a:ln w="10015" cap="flat">
                <a:solidFill>
                  <a:srgbClr val="0054B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3" name="Forma Livre: Forma 142">
                <a:extLst>
                  <a:ext uri="{FF2B5EF4-FFF2-40B4-BE49-F238E27FC236}">
                    <a16:creationId xmlns:a16="http://schemas.microsoft.com/office/drawing/2014/main" id="{C9C8EA42-9829-3224-019D-41540C7F3B7B}"/>
                  </a:ext>
                </a:extLst>
              </p:cNvPr>
              <p:cNvSpPr/>
              <p:nvPr/>
            </p:nvSpPr>
            <p:spPr>
              <a:xfrm>
                <a:off x="5810242" y="5048337"/>
                <a:ext cx="197234" cy="311559"/>
              </a:xfrm>
              <a:custGeom>
                <a:avLst/>
                <a:gdLst>
                  <a:gd name="connsiteX0" fmla="*/ 97158 w 197234"/>
                  <a:gd name="connsiteY0" fmla="*/ -1297 h 311559"/>
                  <a:gd name="connsiteX1" fmla="*/ 15372 w 197234"/>
                  <a:gd name="connsiteY1" fmla="*/ 38795 h 311559"/>
                  <a:gd name="connsiteX2" fmla="*/ 21986 w 197234"/>
                  <a:gd name="connsiteY2" fmla="*/ 206378 h 311559"/>
                  <a:gd name="connsiteX3" fmla="*/ 97158 w 197234"/>
                  <a:gd name="connsiteY3" fmla="*/ 310017 h 311559"/>
                  <a:gd name="connsiteX4" fmla="*/ 172331 w 197234"/>
                  <a:gd name="connsiteY4" fmla="*/ 206378 h 311559"/>
                  <a:gd name="connsiteX5" fmla="*/ 178945 w 197234"/>
                  <a:gd name="connsiteY5" fmla="*/ 38795 h 311559"/>
                  <a:gd name="connsiteX6" fmla="*/ 97158 w 197234"/>
                  <a:gd name="connsiteY6" fmla="*/ -1297 h 311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7234" h="311559">
                    <a:moveTo>
                      <a:pt x="97158" y="-1297"/>
                    </a:moveTo>
                    <a:cubicBezTo>
                      <a:pt x="64684" y="-3703"/>
                      <a:pt x="33411" y="11733"/>
                      <a:pt x="15372" y="38795"/>
                    </a:cubicBezTo>
                    <a:cubicBezTo>
                      <a:pt x="-1669" y="63852"/>
                      <a:pt x="-14497" y="113367"/>
                      <a:pt x="21986" y="206378"/>
                    </a:cubicBezTo>
                    <a:cubicBezTo>
                      <a:pt x="32009" y="232038"/>
                      <a:pt x="62078" y="310017"/>
                      <a:pt x="97158" y="310017"/>
                    </a:cubicBezTo>
                    <a:cubicBezTo>
                      <a:pt x="132239" y="310017"/>
                      <a:pt x="162308" y="232038"/>
                      <a:pt x="172331" y="206378"/>
                    </a:cubicBezTo>
                    <a:cubicBezTo>
                      <a:pt x="208813" y="113367"/>
                      <a:pt x="195986" y="63852"/>
                      <a:pt x="178945" y="38795"/>
                    </a:cubicBezTo>
                    <a:cubicBezTo>
                      <a:pt x="160906" y="11733"/>
                      <a:pt x="129633" y="-3703"/>
                      <a:pt x="97158" y="-1297"/>
                    </a:cubicBezTo>
                  </a:path>
                </a:pathLst>
              </a:custGeom>
              <a:solidFill>
                <a:srgbClr val="94B8D2"/>
              </a:solidFill>
              <a:ln w="10015" cap="flat">
                <a:solidFill>
                  <a:srgbClr val="0054B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44" name="Forma Livre: Forma 143">
                <a:extLst>
                  <a:ext uri="{FF2B5EF4-FFF2-40B4-BE49-F238E27FC236}">
                    <a16:creationId xmlns:a16="http://schemas.microsoft.com/office/drawing/2014/main" id="{221B237A-54C8-8F58-9DDF-782EDA0E39F9}"/>
                  </a:ext>
                </a:extLst>
              </p:cNvPr>
              <p:cNvSpPr/>
              <p:nvPr/>
            </p:nvSpPr>
            <p:spPr>
              <a:xfrm>
                <a:off x="5845314" y="4909865"/>
                <a:ext cx="127492" cy="127492"/>
              </a:xfrm>
              <a:custGeom>
                <a:avLst/>
                <a:gdLst>
                  <a:gd name="connsiteX0" fmla="*/ 127492 w 127492"/>
                  <a:gd name="connsiteY0" fmla="*/ 63746 h 127492"/>
                  <a:gd name="connsiteX1" fmla="*/ 63746 w 127492"/>
                  <a:gd name="connsiteY1" fmla="*/ 127492 h 127492"/>
                  <a:gd name="connsiteX2" fmla="*/ 0 w 127492"/>
                  <a:gd name="connsiteY2" fmla="*/ 63746 h 127492"/>
                  <a:gd name="connsiteX3" fmla="*/ 63746 w 127492"/>
                  <a:gd name="connsiteY3" fmla="*/ 0 h 127492"/>
                  <a:gd name="connsiteX4" fmla="*/ 127492 w 127492"/>
                  <a:gd name="connsiteY4" fmla="*/ 63746 h 127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492" h="127492">
                    <a:moveTo>
                      <a:pt x="127492" y="63746"/>
                    </a:moveTo>
                    <a:cubicBezTo>
                      <a:pt x="127492" y="98952"/>
                      <a:pt x="98952" y="127492"/>
                      <a:pt x="63746" y="127492"/>
                    </a:cubicBezTo>
                    <a:cubicBezTo>
                      <a:pt x="28540" y="127492"/>
                      <a:pt x="0" y="98952"/>
                      <a:pt x="0" y="63746"/>
                    </a:cubicBezTo>
                    <a:cubicBezTo>
                      <a:pt x="0" y="28540"/>
                      <a:pt x="28540" y="0"/>
                      <a:pt x="63746" y="0"/>
                    </a:cubicBezTo>
                    <a:cubicBezTo>
                      <a:pt x="98952" y="0"/>
                      <a:pt x="127492" y="28540"/>
                      <a:pt x="127492" y="63746"/>
                    </a:cubicBezTo>
                    <a:close/>
                  </a:path>
                </a:pathLst>
              </a:custGeom>
              <a:solidFill>
                <a:srgbClr val="94B8D2"/>
              </a:solidFill>
              <a:ln w="10015" cap="flat">
                <a:solidFill>
                  <a:srgbClr val="0054B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sp>
          <p:nvSpPr>
            <p:cNvPr id="123" name="Forma Livre: Forma 122">
              <a:extLst>
                <a:ext uri="{FF2B5EF4-FFF2-40B4-BE49-F238E27FC236}">
                  <a16:creationId xmlns:a16="http://schemas.microsoft.com/office/drawing/2014/main" id="{9E8D1068-F2E5-CD8C-E090-11D795370580}"/>
                </a:ext>
              </a:extLst>
            </p:cNvPr>
            <p:cNvSpPr/>
            <p:nvPr/>
          </p:nvSpPr>
          <p:spPr>
            <a:xfrm>
              <a:off x="5640261" y="3759514"/>
              <a:ext cx="412561" cy="428295"/>
            </a:xfrm>
            <a:custGeom>
              <a:avLst/>
              <a:gdLst>
                <a:gd name="connsiteX0" fmla="*/ 407461 w 412561"/>
                <a:gd name="connsiteY0" fmla="*/ 106620 h 428295"/>
                <a:gd name="connsiteX1" fmla="*/ 387415 w 412561"/>
                <a:gd name="connsiteY1" fmla="*/ 54900 h 428295"/>
                <a:gd name="connsiteX2" fmla="*/ 273553 w 412561"/>
                <a:gd name="connsiteY2" fmla="*/ -1227 h 428295"/>
                <a:gd name="connsiteX3" fmla="*/ 136038 w 412561"/>
                <a:gd name="connsiteY3" fmla="*/ -1227 h 428295"/>
                <a:gd name="connsiteX4" fmla="*/ 21978 w 412561"/>
                <a:gd name="connsiteY4" fmla="*/ 54900 h 428295"/>
                <a:gd name="connsiteX5" fmla="*/ 30797 w 412561"/>
                <a:gd name="connsiteY5" fmla="*/ 284628 h 428295"/>
                <a:gd name="connsiteX6" fmla="*/ 117999 w 412561"/>
                <a:gd name="connsiteY6" fmla="*/ 422143 h 428295"/>
                <a:gd name="connsiteX7" fmla="*/ 136038 w 412561"/>
                <a:gd name="connsiteY7" fmla="*/ 426753 h 428295"/>
                <a:gd name="connsiteX8" fmla="*/ 204797 w 412561"/>
                <a:gd name="connsiteY8" fmla="*/ 364009 h 428295"/>
                <a:gd name="connsiteX9" fmla="*/ 255514 w 412561"/>
                <a:gd name="connsiteY9" fmla="*/ 422143 h 428295"/>
                <a:gd name="connsiteX10" fmla="*/ 273553 w 412561"/>
                <a:gd name="connsiteY10" fmla="*/ 426753 h 428295"/>
                <a:gd name="connsiteX11" fmla="*/ 378794 w 412561"/>
                <a:gd name="connsiteY11" fmla="*/ 284628 h 428295"/>
                <a:gd name="connsiteX12" fmla="*/ 408063 w 412561"/>
                <a:gd name="connsiteY12" fmla="*/ 106620 h 428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2561" h="428295">
                  <a:moveTo>
                    <a:pt x="407461" y="106620"/>
                  </a:moveTo>
                  <a:cubicBezTo>
                    <a:pt x="404654" y="88177"/>
                    <a:pt x="397839" y="70536"/>
                    <a:pt x="387415" y="54900"/>
                  </a:cubicBezTo>
                  <a:cubicBezTo>
                    <a:pt x="362358" y="17013"/>
                    <a:pt x="318857" y="-4435"/>
                    <a:pt x="273553" y="-1227"/>
                  </a:cubicBezTo>
                  <a:cubicBezTo>
                    <a:pt x="229854" y="18819"/>
                    <a:pt x="179739" y="18819"/>
                    <a:pt x="136038" y="-1227"/>
                  </a:cubicBezTo>
                  <a:cubicBezTo>
                    <a:pt x="90734" y="-4435"/>
                    <a:pt x="47236" y="17013"/>
                    <a:pt x="21978" y="54900"/>
                  </a:cubicBezTo>
                  <a:cubicBezTo>
                    <a:pt x="-21523" y="117644"/>
                    <a:pt x="3936" y="216672"/>
                    <a:pt x="30797" y="284628"/>
                  </a:cubicBezTo>
                  <a:cubicBezTo>
                    <a:pt x="45430" y="321713"/>
                    <a:pt x="78105" y="402097"/>
                    <a:pt x="117999" y="422143"/>
                  </a:cubicBezTo>
                  <a:cubicBezTo>
                    <a:pt x="123610" y="425148"/>
                    <a:pt x="129825" y="426753"/>
                    <a:pt x="136038" y="426753"/>
                  </a:cubicBezTo>
                  <a:cubicBezTo>
                    <a:pt x="161898" y="426753"/>
                    <a:pt x="185752" y="397485"/>
                    <a:pt x="204797" y="364009"/>
                  </a:cubicBezTo>
                  <a:cubicBezTo>
                    <a:pt x="216021" y="387662"/>
                    <a:pt x="233662" y="407708"/>
                    <a:pt x="255514" y="422143"/>
                  </a:cubicBezTo>
                  <a:cubicBezTo>
                    <a:pt x="261125" y="425148"/>
                    <a:pt x="267340" y="426753"/>
                    <a:pt x="273553" y="426753"/>
                  </a:cubicBezTo>
                  <a:cubicBezTo>
                    <a:pt x="321263" y="426753"/>
                    <a:pt x="361956" y="326524"/>
                    <a:pt x="378794" y="284628"/>
                  </a:cubicBezTo>
                  <a:cubicBezTo>
                    <a:pt x="398840" y="233309"/>
                    <a:pt x="418886" y="164353"/>
                    <a:pt x="408063" y="106620"/>
                  </a:cubicBezTo>
                </a:path>
              </a:pathLst>
            </a:custGeom>
            <a:solidFill>
              <a:srgbClr val="FFFFFF"/>
            </a:solidFill>
            <a:ln w="20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grpSp>
          <p:nvGrpSpPr>
            <p:cNvPr id="124" name="Agrupar 123">
              <a:extLst>
                <a:ext uri="{FF2B5EF4-FFF2-40B4-BE49-F238E27FC236}">
                  <a16:creationId xmlns:a16="http://schemas.microsoft.com/office/drawing/2014/main" id="{4C462774-0226-7581-A66E-F6840DE1F51E}"/>
                </a:ext>
              </a:extLst>
            </p:cNvPr>
            <p:cNvGrpSpPr/>
            <p:nvPr/>
          </p:nvGrpSpPr>
          <p:grpSpPr>
            <a:xfrm>
              <a:off x="6489409" y="2741248"/>
              <a:ext cx="494751" cy="575165"/>
              <a:chOff x="6489409" y="2741248"/>
              <a:chExt cx="494751" cy="575165"/>
            </a:xfrm>
          </p:grpSpPr>
          <p:sp>
            <p:nvSpPr>
              <p:cNvPr id="136" name="Forma Livre: Forma 135">
                <a:extLst>
                  <a:ext uri="{FF2B5EF4-FFF2-40B4-BE49-F238E27FC236}">
                    <a16:creationId xmlns:a16="http://schemas.microsoft.com/office/drawing/2014/main" id="{F603E25A-B195-60F8-7CFF-1D9CFE0D18ED}"/>
                  </a:ext>
                </a:extLst>
              </p:cNvPr>
              <p:cNvSpPr/>
              <p:nvPr/>
            </p:nvSpPr>
            <p:spPr>
              <a:xfrm>
                <a:off x="6570526" y="2746155"/>
                <a:ext cx="58167" cy="58628"/>
              </a:xfrm>
              <a:custGeom>
                <a:avLst/>
                <a:gdLst>
                  <a:gd name="connsiteX0" fmla="*/ 4405 w 58167"/>
                  <a:gd name="connsiteY0" fmla="*/ 26272 h 58628"/>
                  <a:gd name="connsiteX1" fmla="*/ -1409 w 58167"/>
                  <a:gd name="connsiteY1" fmla="*/ 52332 h 58628"/>
                  <a:gd name="connsiteX2" fmla="*/ 194 w 58167"/>
                  <a:gd name="connsiteY2" fmla="*/ 54938 h 58628"/>
                  <a:gd name="connsiteX3" fmla="*/ 28861 w 58167"/>
                  <a:gd name="connsiteY3" fmla="*/ 50727 h 58628"/>
                  <a:gd name="connsiteX4" fmla="*/ 52915 w 58167"/>
                  <a:gd name="connsiteY4" fmla="*/ 33488 h 58628"/>
                  <a:gd name="connsiteX5" fmla="*/ 56524 w 58167"/>
                  <a:gd name="connsiteY5" fmla="*/ 25070 h 58628"/>
                  <a:gd name="connsiteX6" fmla="*/ 36077 w 58167"/>
                  <a:gd name="connsiteY6" fmla="*/ -1392 h 58628"/>
                  <a:gd name="connsiteX7" fmla="*/ 30062 w 58167"/>
                  <a:gd name="connsiteY7" fmla="*/ -1392 h 58628"/>
                  <a:gd name="connsiteX8" fmla="*/ 4405 w 58167"/>
                  <a:gd name="connsiteY8" fmla="*/ 26272 h 58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167" h="58628">
                    <a:moveTo>
                      <a:pt x="4405" y="26272"/>
                    </a:moveTo>
                    <a:cubicBezTo>
                      <a:pt x="194" y="34290"/>
                      <a:pt x="-1810" y="43310"/>
                      <a:pt x="-1409" y="52332"/>
                    </a:cubicBezTo>
                    <a:cubicBezTo>
                      <a:pt x="-1208" y="53333"/>
                      <a:pt x="-606" y="54136"/>
                      <a:pt x="194" y="54938"/>
                    </a:cubicBezTo>
                    <a:cubicBezTo>
                      <a:pt x="5808" y="60549"/>
                      <a:pt x="22046" y="53734"/>
                      <a:pt x="28861" y="50727"/>
                    </a:cubicBezTo>
                    <a:cubicBezTo>
                      <a:pt x="38282" y="47120"/>
                      <a:pt x="46501" y="41105"/>
                      <a:pt x="52915" y="33488"/>
                    </a:cubicBezTo>
                    <a:cubicBezTo>
                      <a:pt x="54721" y="30882"/>
                      <a:pt x="55922" y="28075"/>
                      <a:pt x="56524" y="25070"/>
                    </a:cubicBezTo>
                    <a:cubicBezTo>
                      <a:pt x="58127" y="12040"/>
                      <a:pt x="49107" y="211"/>
                      <a:pt x="36077" y="-1392"/>
                    </a:cubicBezTo>
                    <a:cubicBezTo>
                      <a:pt x="34073" y="-1593"/>
                      <a:pt x="32069" y="-1593"/>
                      <a:pt x="30062" y="-1392"/>
                    </a:cubicBezTo>
                    <a:cubicBezTo>
                      <a:pt x="17835" y="1013"/>
                      <a:pt x="10016" y="15446"/>
                      <a:pt x="4405" y="26272"/>
                    </a:cubicBezTo>
                  </a:path>
                </a:pathLst>
              </a:custGeom>
              <a:solidFill>
                <a:srgbClr val="FFFFFF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7" name="Forma Livre: Forma 136">
                <a:extLst>
                  <a:ext uri="{FF2B5EF4-FFF2-40B4-BE49-F238E27FC236}">
                    <a16:creationId xmlns:a16="http://schemas.microsoft.com/office/drawing/2014/main" id="{3139761A-54E0-5611-357A-CC54F2B91A37}"/>
                  </a:ext>
                </a:extLst>
              </p:cNvPr>
              <p:cNvSpPr/>
              <p:nvPr/>
            </p:nvSpPr>
            <p:spPr>
              <a:xfrm>
                <a:off x="6658394" y="2746155"/>
                <a:ext cx="58168" cy="58628"/>
              </a:xfrm>
              <a:custGeom>
                <a:avLst/>
                <a:gdLst>
                  <a:gd name="connsiteX0" fmla="*/ 50845 w 58168"/>
                  <a:gd name="connsiteY0" fmla="*/ 26272 h 58628"/>
                  <a:gd name="connsiteX1" fmla="*/ 56659 w 58168"/>
                  <a:gd name="connsiteY1" fmla="*/ 52332 h 58628"/>
                  <a:gd name="connsiteX2" fmla="*/ 55054 w 58168"/>
                  <a:gd name="connsiteY2" fmla="*/ 54938 h 58628"/>
                  <a:gd name="connsiteX3" fmla="*/ 26389 w 58168"/>
                  <a:gd name="connsiteY3" fmla="*/ 50727 h 58628"/>
                  <a:gd name="connsiteX4" fmla="*/ 2333 w 58168"/>
                  <a:gd name="connsiteY4" fmla="*/ 33488 h 58628"/>
                  <a:gd name="connsiteX5" fmla="*/ -1274 w 58168"/>
                  <a:gd name="connsiteY5" fmla="*/ 25070 h 58628"/>
                  <a:gd name="connsiteX6" fmla="*/ 19173 w 58168"/>
                  <a:gd name="connsiteY6" fmla="*/ -1392 h 58628"/>
                  <a:gd name="connsiteX7" fmla="*/ 25185 w 58168"/>
                  <a:gd name="connsiteY7" fmla="*/ -1392 h 58628"/>
                  <a:gd name="connsiteX8" fmla="*/ 50845 w 58168"/>
                  <a:gd name="connsiteY8" fmla="*/ 26272 h 58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168" h="58628">
                    <a:moveTo>
                      <a:pt x="50845" y="26272"/>
                    </a:moveTo>
                    <a:cubicBezTo>
                      <a:pt x="55054" y="34290"/>
                      <a:pt x="57060" y="43310"/>
                      <a:pt x="56659" y="52332"/>
                    </a:cubicBezTo>
                    <a:cubicBezTo>
                      <a:pt x="56458" y="53333"/>
                      <a:pt x="55856" y="54136"/>
                      <a:pt x="55054" y="54938"/>
                    </a:cubicBezTo>
                    <a:cubicBezTo>
                      <a:pt x="49443" y="60549"/>
                      <a:pt x="33204" y="53734"/>
                      <a:pt x="26389" y="50727"/>
                    </a:cubicBezTo>
                    <a:cubicBezTo>
                      <a:pt x="16968" y="47120"/>
                      <a:pt x="8749" y="41306"/>
                      <a:pt x="2333" y="33488"/>
                    </a:cubicBezTo>
                    <a:cubicBezTo>
                      <a:pt x="529" y="30882"/>
                      <a:pt x="-672" y="28075"/>
                      <a:pt x="-1274" y="25070"/>
                    </a:cubicBezTo>
                    <a:cubicBezTo>
                      <a:pt x="-2879" y="12040"/>
                      <a:pt x="6143" y="211"/>
                      <a:pt x="19173" y="-1392"/>
                    </a:cubicBezTo>
                    <a:cubicBezTo>
                      <a:pt x="21177" y="-1593"/>
                      <a:pt x="23181" y="-1593"/>
                      <a:pt x="25185" y="-1392"/>
                    </a:cubicBezTo>
                    <a:cubicBezTo>
                      <a:pt x="37413" y="1013"/>
                      <a:pt x="45231" y="15446"/>
                      <a:pt x="50845" y="26272"/>
                    </a:cubicBezTo>
                  </a:path>
                </a:pathLst>
              </a:custGeom>
              <a:solidFill>
                <a:srgbClr val="FFFFFF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8" name="Forma Livre: Forma 137">
                <a:extLst>
                  <a:ext uri="{FF2B5EF4-FFF2-40B4-BE49-F238E27FC236}">
                    <a16:creationId xmlns:a16="http://schemas.microsoft.com/office/drawing/2014/main" id="{1B6E9011-8AE4-A304-EFC6-FD7A472501E7}"/>
                  </a:ext>
                </a:extLst>
              </p:cNvPr>
              <p:cNvSpPr/>
              <p:nvPr/>
            </p:nvSpPr>
            <p:spPr>
              <a:xfrm>
                <a:off x="6489409" y="2741248"/>
                <a:ext cx="494751" cy="575165"/>
              </a:xfrm>
              <a:custGeom>
                <a:avLst/>
                <a:gdLst>
                  <a:gd name="connsiteX0" fmla="*/ 452763 w 494751"/>
                  <a:gd name="connsiteY0" fmla="*/ 200967 h 575165"/>
                  <a:gd name="connsiteX1" fmla="*/ 404451 w 494751"/>
                  <a:gd name="connsiteY1" fmla="*/ 97331 h 575165"/>
                  <a:gd name="connsiteX2" fmla="*/ 408462 w 494751"/>
                  <a:gd name="connsiteY2" fmla="*/ 17147 h 575165"/>
                  <a:gd name="connsiteX3" fmla="*/ 328479 w 494751"/>
                  <a:gd name="connsiteY3" fmla="*/ 13136 h 575165"/>
                  <a:gd name="connsiteX4" fmla="*/ 324268 w 494751"/>
                  <a:gd name="connsiteY4" fmla="*/ 93320 h 575165"/>
                  <a:gd name="connsiteX5" fmla="*/ 366366 w 494751"/>
                  <a:gd name="connsiteY5" fmla="*/ 111964 h 575165"/>
                  <a:gd name="connsiteX6" fmla="*/ 371576 w 494751"/>
                  <a:gd name="connsiteY6" fmla="*/ 111964 h 575165"/>
                  <a:gd name="connsiteX7" fmla="*/ 419687 w 494751"/>
                  <a:gd name="connsiteY7" fmla="*/ 214399 h 575165"/>
                  <a:gd name="connsiteX8" fmla="*/ 432316 w 494751"/>
                  <a:gd name="connsiteY8" fmla="*/ 477401 h 575165"/>
                  <a:gd name="connsiteX9" fmla="*/ 210809 w 494751"/>
                  <a:gd name="connsiteY9" fmla="*/ 504663 h 575165"/>
                  <a:gd name="connsiteX10" fmla="*/ 183545 w 494751"/>
                  <a:gd name="connsiteY10" fmla="*/ 477401 h 575165"/>
                  <a:gd name="connsiteX11" fmla="*/ 168111 w 494751"/>
                  <a:gd name="connsiteY11" fmla="*/ 446530 h 575165"/>
                  <a:gd name="connsiteX12" fmla="*/ 280368 w 494751"/>
                  <a:gd name="connsiteY12" fmla="*/ 383786 h 575165"/>
                  <a:gd name="connsiteX13" fmla="*/ 273553 w 494751"/>
                  <a:gd name="connsiteY13" fmla="*/ 139427 h 575165"/>
                  <a:gd name="connsiteX14" fmla="*/ 221432 w 494751"/>
                  <a:gd name="connsiteY14" fmla="*/ 35187 h 575165"/>
                  <a:gd name="connsiteX15" fmla="*/ 192366 w 494751"/>
                  <a:gd name="connsiteY15" fmla="*/ 55232 h 575165"/>
                  <a:gd name="connsiteX16" fmla="*/ 240477 w 494751"/>
                  <a:gd name="connsiteY16" fmla="*/ 152257 h 575165"/>
                  <a:gd name="connsiteX17" fmla="*/ 251102 w 494751"/>
                  <a:gd name="connsiteY17" fmla="*/ 363339 h 575165"/>
                  <a:gd name="connsiteX18" fmla="*/ 75898 w 494751"/>
                  <a:gd name="connsiteY18" fmla="*/ 385190 h 575165"/>
                  <a:gd name="connsiteX19" fmla="*/ 54049 w 494751"/>
                  <a:gd name="connsiteY19" fmla="*/ 363339 h 575165"/>
                  <a:gd name="connsiteX20" fmla="*/ 36609 w 494751"/>
                  <a:gd name="connsiteY20" fmla="*/ 319038 h 575165"/>
                  <a:gd name="connsiteX21" fmla="*/ 64674 w 494751"/>
                  <a:gd name="connsiteY21" fmla="*/ 152257 h 575165"/>
                  <a:gd name="connsiteX22" fmla="*/ 112784 w 494751"/>
                  <a:gd name="connsiteY22" fmla="*/ 55232 h 575165"/>
                  <a:gd name="connsiteX23" fmla="*/ 83716 w 494751"/>
                  <a:gd name="connsiteY23" fmla="*/ 35187 h 575165"/>
                  <a:gd name="connsiteX24" fmla="*/ 31798 w 494751"/>
                  <a:gd name="connsiteY24" fmla="*/ 139427 h 575165"/>
                  <a:gd name="connsiteX25" fmla="*/ 1729 w 494751"/>
                  <a:gd name="connsiteY25" fmla="*/ 325454 h 575165"/>
                  <a:gd name="connsiteX26" fmla="*/ 24983 w 494751"/>
                  <a:gd name="connsiteY26" fmla="*/ 383786 h 575165"/>
                  <a:gd name="connsiteX27" fmla="*/ 130626 w 494751"/>
                  <a:gd name="connsiteY27" fmla="*/ 445930 h 575165"/>
                  <a:gd name="connsiteX28" fmla="*/ 154479 w 494751"/>
                  <a:gd name="connsiteY28" fmla="*/ 497447 h 575165"/>
                  <a:gd name="connsiteX29" fmla="*/ 308032 w 494751"/>
                  <a:gd name="connsiteY29" fmla="*/ 573623 h 575165"/>
                  <a:gd name="connsiteX30" fmla="*/ 461584 w 494751"/>
                  <a:gd name="connsiteY30" fmla="*/ 497447 h 575165"/>
                  <a:gd name="connsiteX31" fmla="*/ 452763 w 494751"/>
                  <a:gd name="connsiteY31" fmla="*/ 201368 h 575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94751" h="575165">
                    <a:moveTo>
                      <a:pt x="452763" y="200967"/>
                    </a:moveTo>
                    <a:cubicBezTo>
                      <a:pt x="439131" y="165287"/>
                      <a:pt x="422895" y="130605"/>
                      <a:pt x="404451" y="97331"/>
                    </a:cubicBezTo>
                    <a:cubicBezTo>
                      <a:pt x="427705" y="76282"/>
                      <a:pt x="429509" y="40399"/>
                      <a:pt x="408462" y="17147"/>
                    </a:cubicBezTo>
                    <a:cubicBezTo>
                      <a:pt x="387614" y="-6107"/>
                      <a:pt x="351731" y="-7910"/>
                      <a:pt x="328479" y="13136"/>
                    </a:cubicBezTo>
                    <a:cubicBezTo>
                      <a:pt x="305225" y="34186"/>
                      <a:pt x="303422" y="70069"/>
                      <a:pt x="324268" y="93320"/>
                    </a:cubicBezTo>
                    <a:cubicBezTo>
                      <a:pt x="335093" y="105149"/>
                      <a:pt x="350328" y="111964"/>
                      <a:pt x="366366" y="111964"/>
                    </a:cubicBezTo>
                    <a:lnTo>
                      <a:pt x="371576" y="111964"/>
                    </a:lnTo>
                    <a:cubicBezTo>
                      <a:pt x="390220" y="144840"/>
                      <a:pt x="406257" y="179117"/>
                      <a:pt x="419687" y="214399"/>
                    </a:cubicBezTo>
                    <a:cubicBezTo>
                      <a:pt x="446149" y="281151"/>
                      <a:pt x="483032" y="404233"/>
                      <a:pt x="432316" y="477401"/>
                    </a:cubicBezTo>
                    <a:cubicBezTo>
                      <a:pt x="378795" y="546160"/>
                      <a:pt x="279566" y="558388"/>
                      <a:pt x="210809" y="504663"/>
                    </a:cubicBezTo>
                    <a:cubicBezTo>
                      <a:pt x="200786" y="496845"/>
                      <a:pt x="191564" y="487625"/>
                      <a:pt x="183545" y="477401"/>
                    </a:cubicBezTo>
                    <a:cubicBezTo>
                      <a:pt x="177131" y="467780"/>
                      <a:pt x="171919" y="457355"/>
                      <a:pt x="168111" y="446530"/>
                    </a:cubicBezTo>
                    <a:cubicBezTo>
                      <a:pt x="213415" y="444927"/>
                      <a:pt x="255311" y="421673"/>
                      <a:pt x="280368" y="383786"/>
                    </a:cubicBezTo>
                    <a:cubicBezTo>
                      <a:pt x="327676" y="315431"/>
                      <a:pt x="302820" y="213195"/>
                      <a:pt x="273553" y="139427"/>
                    </a:cubicBezTo>
                    <a:cubicBezTo>
                      <a:pt x="260122" y="102942"/>
                      <a:pt x="242481" y="67862"/>
                      <a:pt x="221432" y="35187"/>
                    </a:cubicBezTo>
                    <a:lnTo>
                      <a:pt x="192366" y="55232"/>
                    </a:lnTo>
                    <a:cubicBezTo>
                      <a:pt x="211810" y="85703"/>
                      <a:pt x="227848" y="118378"/>
                      <a:pt x="240477" y="152257"/>
                    </a:cubicBezTo>
                    <a:cubicBezTo>
                      <a:pt x="261724" y="206179"/>
                      <a:pt x="291593" y="305007"/>
                      <a:pt x="251102" y="363339"/>
                    </a:cubicBezTo>
                    <a:cubicBezTo>
                      <a:pt x="208803" y="417665"/>
                      <a:pt x="130224" y="427487"/>
                      <a:pt x="75898" y="385190"/>
                    </a:cubicBezTo>
                    <a:cubicBezTo>
                      <a:pt x="67681" y="378774"/>
                      <a:pt x="60465" y="371558"/>
                      <a:pt x="54049" y="363339"/>
                    </a:cubicBezTo>
                    <a:cubicBezTo>
                      <a:pt x="45230" y="349909"/>
                      <a:pt x="39215" y="334875"/>
                      <a:pt x="36609" y="319038"/>
                    </a:cubicBezTo>
                    <a:cubicBezTo>
                      <a:pt x="26786" y="264714"/>
                      <a:pt x="46431" y="198762"/>
                      <a:pt x="64674" y="152257"/>
                    </a:cubicBezTo>
                    <a:cubicBezTo>
                      <a:pt x="77303" y="118378"/>
                      <a:pt x="93338" y="85903"/>
                      <a:pt x="112784" y="55232"/>
                    </a:cubicBezTo>
                    <a:lnTo>
                      <a:pt x="83716" y="35187"/>
                    </a:lnTo>
                    <a:cubicBezTo>
                      <a:pt x="62670" y="68062"/>
                      <a:pt x="45230" y="102942"/>
                      <a:pt x="31798" y="139427"/>
                    </a:cubicBezTo>
                    <a:cubicBezTo>
                      <a:pt x="11752" y="189742"/>
                      <a:pt x="-9696" y="262911"/>
                      <a:pt x="1729" y="325454"/>
                    </a:cubicBezTo>
                    <a:cubicBezTo>
                      <a:pt x="5338" y="346300"/>
                      <a:pt x="13154" y="366145"/>
                      <a:pt x="24983" y="383786"/>
                    </a:cubicBezTo>
                    <a:cubicBezTo>
                      <a:pt x="48636" y="419869"/>
                      <a:pt x="87727" y="442722"/>
                      <a:pt x="130626" y="445930"/>
                    </a:cubicBezTo>
                    <a:cubicBezTo>
                      <a:pt x="135637" y="464371"/>
                      <a:pt x="143653" y="481811"/>
                      <a:pt x="154479" y="497447"/>
                    </a:cubicBezTo>
                    <a:cubicBezTo>
                      <a:pt x="167509" y="516289"/>
                      <a:pt x="207200" y="573623"/>
                      <a:pt x="308032" y="573623"/>
                    </a:cubicBezTo>
                    <a:cubicBezTo>
                      <a:pt x="408863" y="573623"/>
                      <a:pt x="448353" y="516289"/>
                      <a:pt x="461584" y="497447"/>
                    </a:cubicBezTo>
                    <a:cubicBezTo>
                      <a:pt x="518514" y="415259"/>
                      <a:pt x="488245" y="290973"/>
                      <a:pt x="452763" y="201368"/>
                    </a:cubicBezTo>
                  </a:path>
                </a:pathLst>
              </a:custGeom>
              <a:solidFill>
                <a:srgbClr val="94B8D2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25" name="Agrupar 124">
              <a:extLst>
                <a:ext uri="{FF2B5EF4-FFF2-40B4-BE49-F238E27FC236}">
                  <a16:creationId xmlns:a16="http://schemas.microsoft.com/office/drawing/2014/main" id="{3F257602-9D12-97D6-86F1-DC4D0835C3D1}"/>
                </a:ext>
              </a:extLst>
            </p:cNvPr>
            <p:cNvGrpSpPr/>
            <p:nvPr/>
          </p:nvGrpSpPr>
          <p:grpSpPr>
            <a:xfrm>
              <a:off x="7841690" y="2801232"/>
              <a:ext cx="453840" cy="453840"/>
              <a:chOff x="7841690" y="2801232"/>
              <a:chExt cx="453840" cy="453840"/>
            </a:xfrm>
          </p:grpSpPr>
          <p:sp>
            <p:nvSpPr>
              <p:cNvPr id="134" name="Forma Livre: Forma 133">
                <a:extLst>
                  <a:ext uri="{FF2B5EF4-FFF2-40B4-BE49-F238E27FC236}">
                    <a16:creationId xmlns:a16="http://schemas.microsoft.com/office/drawing/2014/main" id="{AD0E187D-9B25-0376-8BBA-75A3E13EDF40}"/>
                  </a:ext>
                </a:extLst>
              </p:cNvPr>
              <p:cNvSpPr/>
              <p:nvPr/>
            </p:nvSpPr>
            <p:spPr>
              <a:xfrm>
                <a:off x="7841690" y="2954383"/>
                <a:ext cx="453840" cy="147738"/>
              </a:xfrm>
              <a:custGeom>
                <a:avLst/>
                <a:gdLst>
                  <a:gd name="connsiteX0" fmla="*/ 389092 w 453840"/>
                  <a:gd name="connsiteY0" fmla="*/ 0 h 147738"/>
                  <a:gd name="connsiteX1" fmla="*/ 453840 w 453840"/>
                  <a:gd name="connsiteY1" fmla="*/ 0 h 147738"/>
                  <a:gd name="connsiteX2" fmla="*/ 453840 w 453840"/>
                  <a:gd name="connsiteY2" fmla="*/ 147739 h 147738"/>
                  <a:gd name="connsiteX3" fmla="*/ 389092 w 453840"/>
                  <a:gd name="connsiteY3" fmla="*/ 147739 h 147738"/>
                  <a:gd name="connsiteX4" fmla="*/ 64749 w 453840"/>
                  <a:gd name="connsiteY4" fmla="*/ 147739 h 147738"/>
                  <a:gd name="connsiteX5" fmla="*/ 0 w 453840"/>
                  <a:gd name="connsiteY5" fmla="*/ 147739 h 147738"/>
                  <a:gd name="connsiteX6" fmla="*/ 0 w 453840"/>
                  <a:gd name="connsiteY6" fmla="*/ 0 h 147738"/>
                  <a:gd name="connsiteX7" fmla="*/ 64749 w 453840"/>
                  <a:gd name="connsiteY7" fmla="*/ 0 h 14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3840" h="147738">
                    <a:moveTo>
                      <a:pt x="389092" y="0"/>
                    </a:moveTo>
                    <a:cubicBezTo>
                      <a:pt x="424851" y="0"/>
                      <a:pt x="453840" y="0"/>
                      <a:pt x="453840" y="0"/>
                    </a:cubicBezTo>
                    <a:lnTo>
                      <a:pt x="453840" y="147739"/>
                    </a:lnTo>
                    <a:cubicBezTo>
                      <a:pt x="453840" y="147739"/>
                      <a:pt x="424851" y="147739"/>
                      <a:pt x="389092" y="147739"/>
                    </a:cubicBezTo>
                    <a:lnTo>
                      <a:pt x="64749" y="147739"/>
                    </a:lnTo>
                    <a:cubicBezTo>
                      <a:pt x="28989" y="147739"/>
                      <a:pt x="0" y="147739"/>
                      <a:pt x="0" y="147739"/>
                    </a:cubicBezTo>
                    <a:lnTo>
                      <a:pt x="0" y="0"/>
                    </a:lnTo>
                    <a:cubicBezTo>
                      <a:pt x="0" y="0"/>
                      <a:pt x="28989" y="0"/>
                      <a:pt x="6474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5" name="Forma Livre: Forma 134">
                <a:extLst>
                  <a:ext uri="{FF2B5EF4-FFF2-40B4-BE49-F238E27FC236}">
                    <a16:creationId xmlns:a16="http://schemas.microsoft.com/office/drawing/2014/main" id="{41645D70-7F87-1A93-F900-69F02C48FCE3}"/>
                  </a:ext>
                </a:extLst>
              </p:cNvPr>
              <p:cNvSpPr/>
              <p:nvPr/>
            </p:nvSpPr>
            <p:spPr>
              <a:xfrm>
                <a:off x="7994640" y="2801232"/>
                <a:ext cx="147738" cy="453840"/>
              </a:xfrm>
              <a:custGeom>
                <a:avLst/>
                <a:gdLst>
                  <a:gd name="connsiteX0" fmla="*/ 82990 w 147738"/>
                  <a:gd name="connsiteY0" fmla="*/ 0 h 453840"/>
                  <a:gd name="connsiteX1" fmla="*/ 147739 w 147738"/>
                  <a:gd name="connsiteY1" fmla="*/ 0 h 453840"/>
                  <a:gd name="connsiteX2" fmla="*/ 147739 w 147738"/>
                  <a:gd name="connsiteY2" fmla="*/ 453840 h 453840"/>
                  <a:gd name="connsiteX3" fmla="*/ 82990 w 147738"/>
                  <a:gd name="connsiteY3" fmla="*/ 453840 h 453840"/>
                  <a:gd name="connsiteX4" fmla="*/ 64748 w 147738"/>
                  <a:gd name="connsiteY4" fmla="*/ 453840 h 453840"/>
                  <a:gd name="connsiteX5" fmla="*/ 0 w 147738"/>
                  <a:gd name="connsiteY5" fmla="*/ 453840 h 453840"/>
                  <a:gd name="connsiteX6" fmla="*/ 0 w 147738"/>
                  <a:gd name="connsiteY6" fmla="*/ 0 h 453840"/>
                  <a:gd name="connsiteX7" fmla="*/ 64748 w 147738"/>
                  <a:gd name="connsiteY7" fmla="*/ 0 h 45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738" h="453840">
                    <a:moveTo>
                      <a:pt x="82990" y="0"/>
                    </a:moveTo>
                    <a:cubicBezTo>
                      <a:pt x="118750" y="0"/>
                      <a:pt x="147739" y="0"/>
                      <a:pt x="147739" y="0"/>
                    </a:cubicBezTo>
                    <a:lnTo>
                      <a:pt x="147739" y="453840"/>
                    </a:lnTo>
                    <a:cubicBezTo>
                      <a:pt x="147739" y="453840"/>
                      <a:pt x="118750" y="453840"/>
                      <a:pt x="82990" y="453840"/>
                    </a:cubicBezTo>
                    <a:lnTo>
                      <a:pt x="64748" y="453840"/>
                    </a:lnTo>
                    <a:cubicBezTo>
                      <a:pt x="28989" y="453840"/>
                      <a:pt x="0" y="453840"/>
                      <a:pt x="0" y="453840"/>
                    </a:cubicBezTo>
                    <a:lnTo>
                      <a:pt x="0" y="0"/>
                    </a:lnTo>
                    <a:cubicBezTo>
                      <a:pt x="0" y="0"/>
                      <a:pt x="28989" y="0"/>
                      <a:pt x="6474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26" name="Agrupar 125">
              <a:extLst>
                <a:ext uri="{FF2B5EF4-FFF2-40B4-BE49-F238E27FC236}">
                  <a16:creationId xmlns:a16="http://schemas.microsoft.com/office/drawing/2014/main" id="{8ED402E4-D6C4-0F12-BF7D-ABD5517E8AE3}"/>
                </a:ext>
              </a:extLst>
            </p:cNvPr>
            <p:cNvGrpSpPr/>
            <p:nvPr/>
          </p:nvGrpSpPr>
          <p:grpSpPr>
            <a:xfrm>
              <a:off x="8688104" y="4846920"/>
              <a:ext cx="408959" cy="679757"/>
              <a:chOff x="8688104" y="4846920"/>
              <a:chExt cx="408959" cy="679757"/>
            </a:xfrm>
          </p:grpSpPr>
          <p:sp>
            <p:nvSpPr>
              <p:cNvPr id="131" name="Forma Livre: Forma 130">
                <a:extLst>
                  <a:ext uri="{FF2B5EF4-FFF2-40B4-BE49-F238E27FC236}">
                    <a16:creationId xmlns:a16="http://schemas.microsoft.com/office/drawing/2014/main" id="{D3EA7B50-7A9F-FDCC-54F6-207F083F0CF1}"/>
                  </a:ext>
                </a:extLst>
              </p:cNvPr>
              <p:cNvSpPr/>
              <p:nvPr/>
            </p:nvSpPr>
            <p:spPr>
              <a:xfrm>
                <a:off x="8688104" y="5055873"/>
                <a:ext cx="297604" cy="470804"/>
              </a:xfrm>
              <a:custGeom>
                <a:avLst/>
                <a:gdLst>
                  <a:gd name="connsiteX0" fmla="*/ 147407 w 297604"/>
                  <a:gd name="connsiteY0" fmla="*/ -1216 h 470804"/>
                  <a:gd name="connsiteX1" fmla="*/ 23926 w 297604"/>
                  <a:gd name="connsiteY1" fmla="*/ 60126 h 470804"/>
                  <a:gd name="connsiteX2" fmla="*/ 33948 w 297604"/>
                  <a:gd name="connsiteY2" fmla="*/ 312905 h 470804"/>
                  <a:gd name="connsiteX3" fmla="*/ 147407 w 297604"/>
                  <a:gd name="connsiteY3" fmla="*/ 469262 h 470804"/>
                  <a:gd name="connsiteX4" fmla="*/ 260667 w 297604"/>
                  <a:gd name="connsiteY4" fmla="*/ 312905 h 470804"/>
                  <a:gd name="connsiteX5" fmla="*/ 270690 w 297604"/>
                  <a:gd name="connsiteY5" fmla="*/ 60126 h 470804"/>
                  <a:gd name="connsiteX6" fmla="*/ 147407 w 297604"/>
                  <a:gd name="connsiteY6" fmla="*/ -1216 h 470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7604" h="470804">
                    <a:moveTo>
                      <a:pt x="147407" y="-1216"/>
                    </a:moveTo>
                    <a:cubicBezTo>
                      <a:pt x="98295" y="-4422"/>
                      <a:pt x="50987" y="19030"/>
                      <a:pt x="23926" y="60126"/>
                    </a:cubicBezTo>
                    <a:cubicBezTo>
                      <a:pt x="-1734" y="97812"/>
                      <a:pt x="-21178" y="172382"/>
                      <a:pt x="33948" y="312905"/>
                    </a:cubicBezTo>
                    <a:cubicBezTo>
                      <a:pt x="48983" y="351592"/>
                      <a:pt x="94086" y="469262"/>
                      <a:pt x="147407" y="469262"/>
                    </a:cubicBezTo>
                    <a:cubicBezTo>
                      <a:pt x="200730" y="469262"/>
                      <a:pt x="245632" y="351592"/>
                      <a:pt x="260667" y="312905"/>
                    </a:cubicBezTo>
                    <a:cubicBezTo>
                      <a:pt x="315793" y="172583"/>
                      <a:pt x="296550" y="97812"/>
                      <a:pt x="270690" y="60126"/>
                    </a:cubicBezTo>
                    <a:cubicBezTo>
                      <a:pt x="243628" y="18830"/>
                      <a:pt x="196521" y="-4622"/>
                      <a:pt x="147407" y="-1216"/>
                    </a:cubicBezTo>
                  </a:path>
                </a:pathLst>
              </a:custGeom>
              <a:solidFill>
                <a:srgbClr val="FFFFFF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2" name="Forma Livre: Forma 131">
                <a:extLst>
                  <a:ext uri="{FF2B5EF4-FFF2-40B4-BE49-F238E27FC236}">
                    <a16:creationId xmlns:a16="http://schemas.microsoft.com/office/drawing/2014/main" id="{566D10AE-D502-E3A0-C62F-CBDFBAC30466}"/>
                  </a:ext>
                </a:extLst>
              </p:cNvPr>
              <p:cNvSpPr/>
              <p:nvPr/>
            </p:nvSpPr>
            <p:spPr>
              <a:xfrm>
                <a:off x="8740751" y="4846920"/>
                <a:ext cx="192441" cy="192441"/>
              </a:xfrm>
              <a:custGeom>
                <a:avLst/>
                <a:gdLst>
                  <a:gd name="connsiteX0" fmla="*/ 192441 w 192441"/>
                  <a:gd name="connsiteY0" fmla="*/ 96221 h 192441"/>
                  <a:gd name="connsiteX1" fmla="*/ 96220 w 192441"/>
                  <a:gd name="connsiteY1" fmla="*/ 192441 h 192441"/>
                  <a:gd name="connsiteX2" fmla="*/ 0 w 192441"/>
                  <a:gd name="connsiteY2" fmla="*/ 96220 h 192441"/>
                  <a:gd name="connsiteX3" fmla="*/ 96220 w 192441"/>
                  <a:gd name="connsiteY3" fmla="*/ 0 h 192441"/>
                  <a:gd name="connsiteX4" fmla="*/ 192441 w 192441"/>
                  <a:gd name="connsiteY4" fmla="*/ 96221 h 192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441" h="192441">
                    <a:moveTo>
                      <a:pt x="192441" y="96221"/>
                    </a:moveTo>
                    <a:cubicBezTo>
                      <a:pt x="192441" y="149362"/>
                      <a:pt x="149362" y="192441"/>
                      <a:pt x="96220" y="192441"/>
                    </a:cubicBezTo>
                    <a:cubicBezTo>
                      <a:pt x="43079" y="192441"/>
                      <a:pt x="0" y="149362"/>
                      <a:pt x="0" y="96220"/>
                    </a:cubicBezTo>
                    <a:cubicBezTo>
                      <a:pt x="0" y="43079"/>
                      <a:pt x="43079" y="0"/>
                      <a:pt x="96220" y="0"/>
                    </a:cubicBezTo>
                    <a:cubicBezTo>
                      <a:pt x="149362" y="0"/>
                      <a:pt x="192441" y="43079"/>
                      <a:pt x="192441" y="962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3" name="Forma Livre: Forma 132">
                <a:extLst>
                  <a:ext uri="{FF2B5EF4-FFF2-40B4-BE49-F238E27FC236}">
                    <a16:creationId xmlns:a16="http://schemas.microsoft.com/office/drawing/2014/main" id="{5EFF13BB-6E60-3B44-5B8A-E60C5DEA01C7}"/>
                  </a:ext>
                </a:extLst>
              </p:cNvPr>
              <p:cNvSpPr/>
              <p:nvPr/>
            </p:nvSpPr>
            <p:spPr>
              <a:xfrm>
                <a:off x="8873538" y="5239841"/>
                <a:ext cx="223525" cy="232913"/>
              </a:xfrm>
              <a:custGeom>
                <a:avLst/>
                <a:gdLst>
                  <a:gd name="connsiteX0" fmla="*/ 221169 w 223525"/>
                  <a:gd name="connsiteY0" fmla="*/ 57371 h 232913"/>
                  <a:gd name="connsiteX1" fmla="*/ 209942 w 223525"/>
                  <a:gd name="connsiteY1" fmla="*/ 29309 h 232913"/>
                  <a:gd name="connsiteX2" fmla="*/ 148000 w 223525"/>
                  <a:gd name="connsiteY2" fmla="*/ -1362 h 232913"/>
                  <a:gd name="connsiteX3" fmla="*/ 110715 w 223525"/>
                  <a:gd name="connsiteY3" fmla="*/ 6857 h 232913"/>
                  <a:gd name="connsiteX4" fmla="*/ 73229 w 223525"/>
                  <a:gd name="connsiteY4" fmla="*/ -1362 h 232913"/>
                  <a:gd name="connsiteX5" fmla="*/ 11288 w 223525"/>
                  <a:gd name="connsiteY5" fmla="*/ 29309 h 232913"/>
                  <a:gd name="connsiteX6" fmla="*/ 16099 w 223525"/>
                  <a:gd name="connsiteY6" fmla="*/ 154195 h 232913"/>
                  <a:gd name="connsiteX7" fmla="*/ 63608 w 223525"/>
                  <a:gd name="connsiteY7" fmla="*/ 228966 h 232913"/>
                  <a:gd name="connsiteX8" fmla="*/ 73229 w 223525"/>
                  <a:gd name="connsiteY8" fmla="*/ 231371 h 232913"/>
                  <a:gd name="connsiteX9" fmla="*/ 110715 w 223525"/>
                  <a:gd name="connsiteY9" fmla="*/ 197294 h 232913"/>
                  <a:gd name="connsiteX10" fmla="*/ 138178 w 223525"/>
                  <a:gd name="connsiteY10" fmla="*/ 228966 h 232913"/>
                  <a:gd name="connsiteX11" fmla="*/ 148000 w 223525"/>
                  <a:gd name="connsiteY11" fmla="*/ 231371 h 232913"/>
                  <a:gd name="connsiteX12" fmla="*/ 205331 w 223525"/>
                  <a:gd name="connsiteY12" fmla="*/ 154195 h 232913"/>
                  <a:gd name="connsiteX13" fmla="*/ 221169 w 223525"/>
                  <a:gd name="connsiteY13" fmla="*/ 57371 h 232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23525" h="232913">
                    <a:moveTo>
                      <a:pt x="221169" y="57371"/>
                    </a:moveTo>
                    <a:cubicBezTo>
                      <a:pt x="219566" y="47348"/>
                      <a:pt x="215756" y="37727"/>
                      <a:pt x="209942" y="29309"/>
                    </a:cubicBezTo>
                    <a:cubicBezTo>
                      <a:pt x="196312" y="8661"/>
                      <a:pt x="172656" y="-3166"/>
                      <a:pt x="148000" y="-1362"/>
                    </a:cubicBezTo>
                    <a:cubicBezTo>
                      <a:pt x="135171" y="-1763"/>
                      <a:pt x="122341" y="1244"/>
                      <a:pt x="110715" y="6857"/>
                    </a:cubicBezTo>
                    <a:cubicBezTo>
                      <a:pt x="99089" y="1043"/>
                      <a:pt x="86260" y="-1763"/>
                      <a:pt x="73229" y="-1362"/>
                    </a:cubicBezTo>
                    <a:cubicBezTo>
                      <a:pt x="48573" y="-2965"/>
                      <a:pt x="24918" y="8661"/>
                      <a:pt x="11288" y="29309"/>
                    </a:cubicBezTo>
                    <a:cubicBezTo>
                      <a:pt x="-12367" y="63386"/>
                      <a:pt x="1466" y="117311"/>
                      <a:pt x="16099" y="154195"/>
                    </a:cubicBezTo>
                    <a:cubicBezTo>
                      <a:pt x="24118" y="174241"/>
                      <a:pt x="41959" y="217939"/>
                      <a:pt x="63608" y="228966"/>
                    </a:cubicBezTo>
                    <a:cubicBezTo>
                      <a:pt x="66615" y="230568"/>
                      <a:pt x="69821" y="231371"/>
                      <a:pt x="73229" y="231371"/>
                    </a:cubicBezTo>
                    <a:cubicBezTo>
                      <a:pt x="87461" y="231371"/>
                      <a:pt x="100291" y="215534"/>
                      <a:pt x="110715" y="197294"/>
                    </a:cubicBezTo>
                    <a:cubicBezTo>
                      <a:pt x="116931" y="210121"/>
                      <a:pt x="126352" y="220947"/>
                      <a:pt x="138178" y="228966"/>
                    </a:cubicBezTo>
                    <a:cubicBezTo>
                      <a:pt x="141185" y="230568"/>
                      <a:pt x="144594" y="231371"/>
                      <a:pt x="148000" y="231371"/>
                    </a:cubicBezTo>
                    <a:cubicBezTo>
                      <a:pt x="174061" y="231371"/>
                      <a:pt x="196111" y="177248"/>
                      <a:pt x="205331" y="154195"/>
                    </a:cubicBezTo>
                    <a:cubicBezTo>
                      <a:pt x="218964" y="123925"/>
                      <a:pt x="224377" y="90447"/>
                      <a:pt x="221169" y="57371"/>
                    </a:cubicBezTo>
                  </a:path>
                </a:pathLst>
              </a:custGeom>
              <a:solidFill>
                <a:srgbClr val="FFFFFF"/>
              </a:solidFill>
              <a:ln w="20029" cap="flat">
                <a:solidFill>
                  <a:srgbClr val="FF99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  <p:grpSp>
          <p:nvGrpSpPr>
            <p:cNvPr id="127" name="Agrupar 126">
              <a:extLst>
                <a:ext uri="{FF2B5EF4-FFF2-40B4-BE49-F238E27FC236}">
                  <a16:creationId xmlns:a16="http://schemas.microsoft.com/office/drawing/2014/main" id="{077486CD-BB7F-120F-0002-10B745E03B95}"/>
                </a:ext>
              </a:extLst>
            </p:cNvPr>
            <p:cNvGrpSpPr/>
            <p:nvPr/>
          </p:nvGrpSpPr>
          <p:grpSpPr>
            <a:xfrm>
              <a:off x="8697040" y="3835671"/>
              <a:ext cx="442062" cy="457379"/>
              <a:chOff x="8697040" y="3835671"/>
              <a:chExt cx="442062" cy="457379"/>
            </a:xfrm>
          </p:grpSpPr>
          <p:sp>
            <p:nvSpPr>
              <p:cNvPr id="128" name="Forma Livre: Forma 127">
                <a:extLst>
                  <a:ext uri="{FF2B5EF4-FFF2-40B4-BE49-F238E27FC236}">
                    <a16:creationId xmlns:a16="http://schemas.microsoft.com/office/drawing/2014/main" id="{7F793C83-D089-2196-658F-77464A655D17}"/>
                  </a:ext>
                </a:extLst>
              </p:cNvPr>
              <p:cNvSpPr/>
              <p:nvPr/>
            </p:nvSpPr>
            <p:spPr>
              <a:xfrm>
                <a:off x="8697040" y="3835671"/>
                <a:ext cx="442062" cy="457379"/>
              </a:xfrm>
              <a:custGeom>
                <a:avLst/>
                <a:gdLst>
                  <a:gd name="connsiteX0" fmla="*/ 435955 w 442062"/>
                  <a:gd name="connsiteY0" fmla="*/ 114053 h 457379"/>
                  <a:gd name="connsiteX1" fmla="*/ 413905 w 442062"/>
                  <a:gd name="connsiteY1" fmla="*/ 58927 h 457379"/>
                  <a:gd name="connsiteX2" fmla="*/ 292225 w 442062"/>
                  <a:gd name="connsiteY2" fmla="*/ -1211 h 457379"/>
                  <a:gd name="connsiteX3" fmla="*/ 145489 w 442062"/>
                  <a:gd name="connsiteY3" fmla="*/ -1211 h 457379"/>
                  <a:gd name="connsiteX4" fmla="*/ 23809 w 442062"/>
                  <a:gd name="connsiteY4" fmla="*/ 58927 h 457379"/>
                  <a:gd name="connsiteX5" fmla="*/ 33230 w 442062"/>
                  <a:gd name="connsiteY5" fmla="*/ 304088 h 457379"/>
                  <a:gd name="connsiteX6" fmla="*/ 126244 w 442062"/>
                  <a:gd name="connsiteY6" fmla="*/ 450826 h 457379"/>
                  <a:gd name="connsiteX7" fmla="*/ 146290 w 442062"/>
                  <a:gd name="connsiteY7" fmla="*/ 455837 h 457379"/>
                  <a:gd name="connsiteX8" fmla="*/ 219658 w 442062"/>
                  <a:gd name="connsiteY8" fmla="*/ 388684 h 457379"/>
                  <a:gd name="connsiteX9" fmla="*/ 273782 w 442062"/>
                  <a:gd name="connsiteY9" fmla="*/ 450826 h 457379"/>
                  <a:gd name="connsiteX10" fmla="*/ 293828 w 442062"/>
                  <a:gd name="connsiteY10" fmla="*/ 455837 h 457379"/>
                  <a:gd name="connsiteX11" fmla="*/ 406087 w 442062"/>
                  <a:gd name="connsiteY11" fmla="*/ 304088 h 457379"/>
                  <a:gd name="connsiteX12" fmla="*/ 437558 w 442062"/>
                  <a:gd name="connsiteY12" fmla="*/ 114053 h 457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2062" h="457379">
                    <a:moveTo>
                      <a:pt x="435955" y="114053"/>
                    </a:moveTo>
                    <a:cubicBezTo>
                      <a:pt x="432747" y="94208"/>
                      <a:pt x="425129" y="75566"/>
                      <a:pt x="413905" y="58927"/>
                    </a:cubicBezTo>
                    <a:cubicBezTo>
                      <a:pt x="387242" y="18434"/>
                      <a:pt x="340737" y="-4617"/>
                      <a:pt x="292225" y="-1211"/>
                    </a:cubicBezTo>
                    <a:cubicBezTo>
                      <a:pt x="245719" y="20239"/>
                      <a:pt x="191995" y="20239"/>
                      <a:pt x="145489" y="-1211"/>
                    </a:cubicBezTo>
                    <a:cubicBezTo>
                      <a:pt x="96977" y="-4419"/>
                      <a:pt x="50670" y="18434"/>
                      <a:pt x="23809" y="58927"/>
                    </a:cubicBezTo>
                    <a:cubicBezTo>
                      <a:pt x="-22696" y="125879"/>
                      <a:pt x="3763" y="231723"/>
                      <a:pt x="33230" y="304088"/>
                    </a:cubicBezTo>
                    <a:cubicBezTo>
                      <a:pt x="48867" y="344180"/>
                      <a:pt x="83746" y="429576"/>
                      <a:pt x="126244" y="450826"/>
                    </a:cubicBezTo>
                    <a:cubicBezTo>
                      <a:pt x="132459" y="454232"/>
                      <a:pt x="139274" y="455837"/>
                      <a:pt x="146290" y="455837"/>
                    </a:cubicBezTo>
                    <a:cubicBezTo>
                      <a:pt x="173953" y="455837"/>
                      <a:pt x="199412" y="424565"/>
                      <a:pt x="219658" y="388684"/>
                    </a:cubicBezTo>
                    <a:cubicBezTo>
                      <a:pt x="231686" y="413942"/>
                      <a:pt x="250329" y="435390"/>
                      <a:pt x="273782" y="450826"/>
                    </a:cubicBezTo>
                    <a:cubicBezTo>
                      <a:pt x="279997" y="454232"/>
                      <a:pt x="286812" y="455837"/>
                      <a:pt x="293828" y="455837"/>
                    </a:cubicBezTo>
                    <a:cubicBezTo>
                      <a:pt x="344946" y="455837"/>
                      <a:pt x="388246" y="349392"/>
                      <a:pt x="406087" y="304088"/>
                    </a:cubicBezTo>
                    <a:cubicBezTo>
                      <a:pt x="427736" y="249363"/>
                      <a:pt x="448584" y="175796"/>
                      <a:pt x="437558" y="114053"/>
                    </a:cubicBezTo>
                  </a:path>
                </a:pathLst>
              </a:custGeom>
              <a:solidFill>
                <a:srgbClr val="94B8D2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29" name="Forma Livre: Forma 128">
                <a:extLst>
                  <a:ext uri="{FF2B5EF4-FFF2-40B4-BE49-F238E27FC236}">
                    <a16:creationId xmlns:a16="http://schemas.microsoft.com/office/drawing/2014/main" id="{638F0B80-4A6E-4625-CB76-A82792A3EA4D}"/>
                  </a:ext>
                </a:extLst>
              </p:cNvPr>
              <p:cNvSpPr/>
              <p:nvPr/>
            </p:nvSpPr>
            <p:spPr>
              <a:xfrm>
                <a:off x="8923570" y="4121858"/>
                <a:ext cx="176003" cy="57331"/>
              </a:xfrm>
              <a:custGeom>
                <a:avLst/>
                <a:gdLst>
                  <a:gd name="connsiteX0" fmla="*/ 157160 w 176003"/>
                  <a:gd name="connsiteY0" fmla="*/ 0 h 57331"/>
                  <a:gd name="connsiteX1" fmla="*/ 176003 w 176003"/>
                  <a:gd name="connsiteY1" fmla="*/ 0 h 57331"/>
                  <a:gd name="connsiteX2" fmla="*/ 176003 w 176003"/>
                  <a:gd name="connsiteY2" fmla="*/ 57331 h 57331"/>
                  <a:gd name="connsiteX3" fmla="*/ 157160 w 176003"/>
                  <a:gd name="connsiteY3" fmla="*/ 57331 h 57331"/>
                  <a:gd name="connsiteX4" fmla="*/ 18843 w 176003"/>
                  <a:gd name="connsiteY4" fmla="*/ 57331 h 57331"/>
                  <a:gd name="connsiteX5" fmla="*/ 0 w 176003"/>
                  <a:gd name="connsiteY5" fmla="*/ 57331 h 57331"/>
                  <a:gd name="connsiteX6" fmla="*/ 0 w 176003"/>
                  <a:gd name="connsiteY6" fmla="*/ 0 h 57331"/>
                  <a:gd name="connsiteX7" fmla="*/ 18843 w 176003"/>
                  <a:gd name="connsiteY7" fmla="*/ 0 h 57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6003" h="57331">
                    <a:moveTo>
                      <a:pt x="157160" y="0"/>
                    </a:moveTo>
                    <a:cubicBezTo>
                      <a:pt x="167567" y="0"/>
                      <a:pt x="176003" y="0"/>
                      <a:pt x="176003" y="0"/>
                    </a:cubicBezTo>
                    <a:lnTo>
                      <a:pt x="176003" y="57331"/>
                    </a:lnTo>
                    <a:cubicBezTo>
                      <a:pt x="176003" y="57331"/>
                      <a:pt x="167567" y="57331"/>
                      <a:pt x="157160" y="57331"/>
                    </a:cubicBezTo>
                    <a:lnTo>
                      <a:pt x="18843" y="57331"/>
                    </a:lnTo>
                    <a:cubicBezTo>
                      <a:pt x="8436" y="57331"/>
                      <a:pt x="0" y="57331"/>
                      <a:pt x="0" y="57331"/>
                    </a:cubicBezTo>
                    <a:lnTo>
                      <a:pt x="0" y="0"/>
                    </a:lnTo>
                    <a:cubicBezTo>
                      <a:pt x="0" y="0"/>
                      <a:pt x="8436" y="0"/>
                      <a:pt x="18843" y="0"/>
                    </a:cubicBezTo>
                    <a:close/>
                  </a:path>
                </a:pathLst>
              </a:custGeom>
              <a:solidFill>
                <a:srgbClr val="0054B8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  <p:sp>
            <p:nvSpPr>
              <p:cNvPr id="130" name="Forma Livre: Forma 129">
                <a:extLst>
                  <a:ext uri="{FF2B5EF4-FFF2-40B4-BE49-F238E27FC236}">
                    <a16:creationId xmlns:a16="http://schemas.microsoft.com/office/drawing/2014/main" id="{6BC12A05-2F68-4C42-318D-33BF0B9F25D0}"/>
                  </a:ext>
                </a:extLst>
              </p:cNvPr>
              <p:cNvSpPr/>
              <p:nvPr/>
            </p:nvSpPr>
            <p:spPr>
              <a:xfrm>
                <a:off x="8982906" y="4062522"/>
                <a:ext cx="57331" cy="176003"/>
              </a:xfrm>
              <a:custGeom>
                <a:avLst/>
                <a:gdLst>
                  <a:gd name="connsiteX0" fmla="*/ 38488 w 57331"/>
                  <a:gd name="connsiteY0" fmla="*/ 0 h 176003"/>
                  <a:gd name="connsiteX1" fmla="*/ 57332 w 57331"/>
                  <a:gd name="connsiteY1" fmla="*/ 0 h 176003"/>
                  <a:gd name="connsiteX2" fmla="*/ 57332 w 57331"/>
                  <a:gd name="connsiteY2" fmla="*/ 176003 h 176003"/>
                  <a:gd name="connsiteX3" fmla="*/ 38488 w 57331"/>
                  <a:gd name="connsiteY3" fmla="*/ 176003 h 176003"/>
                  <a:gd name="connsiteX4" fmla="*/ 18843 w 57331"/>
                  <a:gd name="connsiteY4" fmla="*/ 176003 h 176003"/>
                  <a:gd name="connsiteX5" fmla="*/ 0 w 57331"/>
                  <a:gd name="connsiteY5" fmla="*/ 176003 h 176003"/>
                  <a:gd name="connsiteX6" fmla="*/ 0 w 57331"/>
                  <a:gd name="connsiteY6" fmla="*/ 0 h 176003"/>
                  <a:gd name="connsiteX7" fmla="*/ 18843 w 57331"/>
                  <a:gd name="connsiteY7" fmla="*/ 0 h 176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331" h="176003">
                    <a:moveTo>
                      <a:pt x="38488" y="0"/>
                    </a:moveTo>
                    <a:cubicBezTo>
                      <a:pt x="48895" y="0"/>
                      <a:pt x="57332" y="0"/>
                      <a:pt x="57332" y="0"/>
                    </a:cubicBezTo>
                    <a:lnTo>
                      <a:pt x="57332" y="176003"/>
                    </a:lnTo>
                    <a:cubicBezTo>
                      <a:pt x="57332" y="176003"/>
                      <a:pt x="48895" y="176003"/>
                      <a:pt x="38488" y="176003"/>
                    </a:cubicBezTo>
                    <a:lnTo>
                      <a:pt x="18843" y="176003"/>
                    </a:lnTo>
                    <a:cubicBezTo>
                      <a:pt x="8437" y="176003"/>
                      <a:pt x="0" y="176003"/>
                      <a:pt x="0" y="176003"/>
                    </a:cubicBezTo>
                    <a:lnTo>
                      <a:pt x="0" y="0"/>
                    </a:lnTo>
                    <a:cubicBezTo>
                      <a:pt x="0" y="0"/>
                      <a:pt x="8437" y="0"/>
                      <a:pt x="18843" y="0"/>
                    </a:cubicBezTo>
                    <a:close/>
                  </a:path>
                </a:pathLst>
              </a:custGeom>
              <a:solidFill>
                <a:srgbClr val="0054B8"/>
              </a:solidFill>
              <a:ln w="20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pt-BR"/>
              </a:p>
            </p:txBody>
          </p:sp>
        </p:grpSp>
      </p:grpSp>
      <p:sp>
        <p:nvSpPr>
          <p:cNvPr id="116" name="Forma Livre: Forma 115">
            <a:extLst>
              <a:ext uri="{FF2B5EF4-FFF2-40B4-BE49-F238E27FC236}">
                <a16:creationId xmlns:a16="http://schemas.microsoft.com/office/drawing/2014/main" id="{2ACFFF4B-3E3E-0F72-A439-C79EE7700FA4}"/>
              </a:ext>
            </a:extLst>
          </p:cNvPr>
          <p:cNvSpPr/>
          <p:nvPr/>
        </p:nvSpPr>
        <p:spPr>
          <a:xfrm>
            <a:off x="2902152" y="3623423"/>
            <a:ext cx="5077180" cy="1363424"/>
          </a:xfrm>
          <a:custGeom>
            <a:avLst/>
            <a:gdLst>
              <a:gd name="connsiteX0" fmla="*/ 2933631 w 3037161"/>
              <a:gd name="connsiteY0" fmla="*/ 0 h 786439"/>
              <a:gd name="connsiteX1" fmla="*/ 3037161 w 3037161"/>
              <a:gd name="connsiteY1" fmla="*/ 0 h 786439"/>
              <a:gd name="connsiteX2" fmla="*/ 3037161 w 3037161"/>
              <a:gd name="connsiteY2" fmla="*/ 786440 h 786439"/>
              <a:gd name="connsiteX3" fmla="*/ 2933631 w 3037161"/>
              <a:gd name="connsiteY3" fmla="*/ 786440 h 786439"/>
              <a:gd name="connsiteX4" fmla="*/ 103530 w 3037161"/>
              <a:gd name="connsiteY4" fmla="*/ 786440 h 786439"/>
              <a:gd name="connsiteX5" fmla="*/ 0 w 3037161"/>
              <a:gd name="connsiteY5" fmla="*/ 786440 h 786439"/>
              <a:gd name="connsiteX6" fmla="*/ 0 w 3037161"/>
              <a:gd name="connsiteY6" fmla="*/ 0 h 786439"/>
              <a:gd name="connsiteX7" fmla="*/ 103530 w 3037161"/>
              <a:gd name="connsiteY7" fmla="*/ 0 h 78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37161" h="786439">
                <a:moveTo>
                  <a:pt x="2933631" y="0"/>
                </a:moveTo>
                <a:cubicBezTo>
                  <a:pt x="2990809" y="0"/>
                  <a:pt x="3037161" y="0"/>
                  <a:pt x="3037161" y="0"/>
                </a:cubicBezTo>
                <a:lnTo>
                  <a:pt x="3037161" y="786440"/>
                </a:lnTo>
                <a:cubicBezTo>
                  <a:pt x="3037161" y="786440"/>
                  <a:pt x="2990809" y="786440"/>
                  <a:pt x="2933631" y="786440"/>
                </a:cubicBezTo>
                <a:lnTo>
                  <a:pt x="103530" y="786440"/>
                </a:lnTo>
                <a:cubicBezTo>
                  <a:pt x="46352" y="786440"/>
                  <a:pt x="0" y="786440"/>
                  <a:pt x="0" y="786440"/>
                </a:cubicBezTo>
                <a:lnTo>
                  <a:pt x="0" y="0"/>
                </a:lnTo>
                <a:cubicBezTo>
                  <a:pt x="0" y="0"/>
                  <a:pt x="46352" y="0"/>
                  <a:pt x="103530" y="0"/>
                </a:cubicBezTo>
                <a:close/>
              </a:path>
            </a:pathLst>
          </a:custGeom>
          <a:solidFill>
            <a:srgbClr val="0054B8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7" name="Forma Livre: Forma 116">
            <a:extLst>
              <a:ext uri="{FF2B5EF4-FFF2-40B4-BE49-F238E27FC236}">
                <a16:creationId xmlns:a16="http://schemas.microsoft.com/office/drawing/2014/main" id="{0435B897-8A4C-4EA7-5C92-F7A4C761D54D}"/>
              </a:ext>
            </a:extLst>
          </p:cNvPr>
          <p:cNvSpPr/>
          <p:nvPr/>
        </p:nvSpPr>
        <p:spPr>
          <a:xfrm>
            <a:off x="2713899" y="3623423"/>
            <a:ext cx="1363426" cy="1363424"/>
          </a:xfrm>
          <a:custGeom>
            <a:avLst/>
            <a:gdLst>
              <a:gd name="connsiteX0" fmla="*/ 90525 w 786439"/>
              <a:gd name="connsiteY0" fmla="*/ 0 h 786439"/>
              <a:gd name="connsiteX1" fmla="*/ 786440 w 786439"/>
              <a:gd name="connsiteY1" fmla="*/ 0 h 786439"/>
              <a:gd name="connsiteX2" fmla="*/ 786440 w 786439"/>
              <a:gd name="connsiteY2" fmla="*/ 0 h 786439"/>
              <a:gd name="connsiteX3" fmla="*/ 786440 w 786439"/>
              <a:gd name="connsiteY3" fmla="*/ 786440 h 786439"/>
              <a:gd name="connsiteX4" fmla="*/ 786440 w 786439"/>
              <a:gd name="connsiteY4" fmla="*/ 786440 h 786439"/>
              <a:gd name="connsiteX5" fmla="*/ 100237 w 786439"/>
              <a:gd name="connsiteY5" fmla="*/ 786440 h 786439"/>
              <a:gd name="connsiteX6" fmla="*/ 0 w 786439"/>
              <a:gd name="connsiteY6" fmla="*/ 686203 h 786439"/>
              <a:gd name="connsiteX7" fmla="*/ 0 w 786439"/>
              <a:gd name="connsiteY7" fmla="*/ 686119 h 786439"/>
              <a:gd name="connsiteX8" fmla="*/ 0 w 786439"/>
              <a:gd name="connsiteY8" fmla="*/ 90610 h 786439"/>
              <a:gd name="connsiteX9" fmla="*/ 90441 w 786439"/>
              <a:gd name="connsiteY9" fmla="*/ 0 h 786439"/>
              <a:gd name="connsiteX10" fmla="*/ 90525 w 786439"/>
              <a:gd name="connsiteY10" fmla="*/ 0 h 78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86439" h="786439">
                <a:moveTo>
                  <a:pt x="90525" y="0"/>
                </a:moveTo>
                <a:lnTo>
                  <a:pt x="786440" y="0"/>
                </a:lnTo>
                <a:lnTo>
                  <a:pt x="786440" y="0"/>
                </a:lnTo>
                <a:lnTo>
                  <a:pt x="786440" y="786440"/>
                </a:lnTo>
                <a:lnTo>
                  <a:pt x="786440" y="786440"/>
                </a:lnTo>
                <a:lnTo>
                  <a:pt x="100237" y="786440"/>
                </a:lnTo>
                <a:cubicBezTo>
                  <a:pt x="44878" y="786440"/>
                  <a:pt x="0" y="741562"/>
                  <a:pt x="0" y="686203"/>
                </a:cubicBezTo>
                <a:cubicBezTo>
                  <a:pt x="0" y="686175"/>
                  <a:pt x="0" y="686147"/>
                  <a:pt x="0" y="686119"/>
                </a:cubicBezTo>
                <a:lnTo>
                  <a:pt x="0" y="90610"/>
                </a:lnTo>
                <a:cubicBezTo>
                  <a:pt x="-47" y="40614"/>
                  <a:pt x="40445" y="47"/>
                  <a:pt x="90441" y="0"/>
                </a:cubicBezTo>
                <a:cubicBezTo>
                  <a:pt x="90469" y="0"/>
                  <a:pt x="90498" y="0"/>
                  <a:pt x="90525" y="0"/>
                </a:cubicBezTo>
                <a:close/>
              </a:path>
            </a:pathLst>
          </a:custGeom>
          <a:solidFill>
            <a:srgbClr val="FFAD00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18" name="Forma Livre: Forma 117">
            <a:extLst>
              <a:ext uri="{FF2B5EF4-FFF2-40B4-BE49-F238E27FC236}">
                <a16:creationId xmlns:a16="http://schemas.microsoft.com/office/drawing/2014/main" id="{2BF3ED92-3D28-6C2F-5D7A-F6250EEDD2C4}"/>
              </a:ext>
            </a:extLst>
          </p:cNvPr>
          <p:cNvSpPr/>
          <p:nvPr/>
        </p:nvSpPr>
        <p:spPr>
          <a:xfrm>
            <a:off x="2940781" y="4005208"/>
            <a:ext cx="965801" cy="660347"/>
          </a:xfrm>
          <a:custGeom>
            <a:avLst/>
            <a:gdLst>
              <a:gd name="connsiteX0" fmla="*/ 433549 w 460311"/>
              <a:gd name="connsiteY0" fmla="*/ 280550 h 314728"/>
              <a:gd name="connsiteX1" fmla="*/ 434393 w 460311"/>
              <a:gd name="connsiteY1" fmla="*/ 275399 h 314728"/>
              <a:gd name="connsiteX2" fmla="*/ 434393 w 460311"/>
              <a:gd name="connsiteY2" fmla="*/ 86157 h 314728"/>
              <a:gd name="connsiteX3" fmla="*/ 418180 w 460311"/>
              <a:gd name="connsiteY3" fmla="*/ 69859 h 314728"/>
              <a:gd name="connsiteX4" fmla="*/ 327740 w 460311"/>
              <a:gd name="connsiteY4" fmla="*/ 69859 h 314728"/>
              <a:gd name="connsiteX5" fmla="*/ 327740 w 460311"/>
              <a:gd name="connsiteY5" fmla="*/ 271346 h 314728"/>
              <a:gd name="connsiteX6" fmla="*/ 326135 w 460311"/>
              <a:gd name="connsiteY6" fmla="*/ 280550 h 314728"/>
              <a:gd name="connsiteX7" fmla="*/ 315495 w 460311"/>
              <a:gd name="connsiteY7" fmla="*/ 280550 h 314728"/>
              <a:gd name="connsiteX8" fmla="*/ 316339 w 460311"/>
              <a:gd name="connsiteY8" fmla="*/ 275399 h 314728"/>
              <a:gd name="connsiteX9" fmla="*/ 316339 w 460311"/>
              <a:gd name="connsiteY9" fmla="*/ 15814 h 314728"/>
              <a:gd name="connsiteX10" fmla="*/ 300126 w 460311"/>
              <a:gd name="connsiteY10" fmla="*/ -400 h 314728"/>
              <a:gd name="connsiteX11" fmla="*/ 158257 w 460311"/>
              <a:gd name="connsiteY11" fmla="*/ -400 h 314728"/>
              <a:gd name="connsiteX12" fmla="*/ 141960 w 460311"/>
              <a:gd name="connsiteY12" fmla="*/ 15729 h 314728"/>
              <a:gd name="connsiteX13" fmla="*/ 141960 w 460311"/>
              <a:gd name="connsiteY13" fmla="*/ 15814 h 314728"/>
              <a:gd name="connsiteX14" fmla="*/ 141960 w 460311"/>
              <a:gd name="connsiteY14" fmla="*/ 275737 h 314728"/>
              <a:gd name="connsiteX15" fmla="*/ 142804 w 460311"/>
              <a:gd name="connsiteY15" fmla="*/ 280888 h 314728"/>
              <a:gd name="connsiteX16" fmla="*/ 132249 w 460311"/>
              <a:gd name="connsiteY16" fmla="*/ 280888 h 314728"/>
              <a:gd name="connsiteX17" fmla="*/ 130644 w 460311"/>
              <a:gd name="connsiteY17" fmla="*/ 271683 h 314728"/>
              <a:gd name="connsiteX18" fmla="*/ 130644 w 460311"/>
              <a:gd name="connsiteY18" fmla="*/ 69859 h 314728"/>
              <a:gd name="connsiteX19" fmla="*/ 42230 w 460311"/>
              <a:gd name="connsiteY19" fmla="*/ 69859 h 314728"/>
              <a:gd name="connsiteX20" fmla="*/ 26016 w 460311"/>
              <a:gd name="connsiteY20" fmla="*/ 86157 h 314728"/>
              <a:gd name="connsiteX21" fmla="*/ 26016 w 460311"/>
              <a:gd name="connsiteY21" fmla="*/ 275399 h 314728"/>
              <a:gd name="connsiteX22" fmla="*/ 26861 w 460311"/>
              <a:gd name="connsiteY22" fmla="*/ 280550 h 314728"/>
              <a:gd name="connsiteX23" fmla="*/ -1091 w 460311"/>
              <a:gd name="connsiteY23" fmla="*/ 280550 h 314728"/>
              <a:gd name="connsiteX24" fmla="*/ -1091 w 460311"/>
              <a:gd name="connsiteY24" fmla="*/ 314328 h 314728"/>
              <a:gd name="connsiteX25" fmla="*/ 459221 w 460311"/>
              <a:gd name="connsiteY25" fmla="*/ 314328 h 314728"/>
              <a:gd name="connsiteX26" fmla="*/ 459221 w 460311"/>
              <a:gd name="connsiteY26" fmla="*/ 280550 h 314728"/>
              <a:gd name="connsiteX27" fmla="*/ 74825 w 460311"/>
              <a:gd name="connsiteY27" fmla="*/ 214176 h 314728"/>
              <a:gd name="connsiteX28" fmla="*/ 51518 w 460311"/>
              <a:gd name="connsiteY28" fmla="*/ 214176 h 314728"/>
              <a:gd name="connsiteX29" fmla="*/ 51518 w 460311"/>
              <a:gd name="connsiteY29" fmla="*/ 190953 h 314728"/>
              <a:gd name="connsiteX30" fmla="*/ 74825 w 460311"/>
              <a:gd name="connsiteY30" fmla="*/ 190953 h 314728"/>
              <a:gd name="connsiteX31" fmla="*/ 74825 w 460311"/>
              <a:gd name="connsiteY31" fmla="*/ 173304 h 314728"/>
              <a:gd name="connsiteX32" fmla="*/ 51518 w 460311"/>
              <a:gd name="connsiteY32" fmla="*/ 173304 h 314728"/>
              <a:gd name="connsiteX33" fmla="*/ 51518 w 460311"/>
              <a:gd name="connsiteY33" fmla="*/ 149998 h 314728"/>
              <a:gd name="connsiteX34" fmla="*/ 74825 w 460311"/>
              <a:gd name="connsiteY34" fmla="*/ 149998 h 314728"/>
              <a:gd name="connsiteX35" fmla="*/ 74825 w 460311"/>
              <a:gd name="connsiteY35" fmla="*/ 133784 h 314728"/>
              <a:gd name="connsiteX36" fmla="*/ 51518 w 460311"/>
              <a:gd name="connsiteY36" fmla="*/ 133784 h 314728"/>
              <a:gd name="connsiteX37" fmla="*/ 51518 w 460311"/>
              <a:gd name="connsiteY37" fmla="*/ 110477 h 314728"/>
              <a:gd name="connsiteX38" fmla="*/ 74825 w 460311"/>
              <a:gd name="connsiteY38" fmla="*/ 110477 h 314728"/>
              <a:gd name="connsiteX39" fmla="*/ 111137 w 460311"/>
              <a:gd name="connsiteY39" fmla="*/ 214176 h 314728"/>
              <a:gd name="connsiteX40" fmla="*/ 87830 w 460311"/>
              <a:gd name="connsiteY40" fmla="*/ 214176 h 314728"/>
              <a:gd name="connsiteX41" fmla="*/ 87830 w 460311"/>
              <a:gd name="connsiteY41" fmla="*/ 190953 h 314728"/>
              <a:gd name="connsiteX42" fmla="*/ 111137 w 460311"/>
              <a:gd name="connsiteY42" fmla="*/ 190953 h 314728"/>
              <a:gd name="connsiteX43" fmla="*/ 111137 w 460311"/>
              <a:gd name="connsiteY43" fmla="*/ 173304 h 314728"/>
              <a:gd name="connsiteX44" fmla="*/ 87830 w 460311"/>
              <a:gd name="connsiteY44" fmla="*/ 173304 h 314728"/>
              <a:gd name="connsiteX45" fmla="*/ 87830 w 460311"/>
              <a:gd name="connsiteY45" fmla="*/ 149998 h 314728"/>
              <a:gd name="connsiteX46" fmla="*/ 111137 w 460311"/>
              <a:gd name="connsiteY46" fmla="*/ 149998 h 314728"/>
              <a:gd name="connsiteX47" fmla="*/ 111137 w 460311"/>
              <a:gd name="connsiteY47" fmla="*/ 133784 h 314728"/>
              <a:gd name="connsiteX48" fmla="*/ 87830 w 460311"/>
              <a:gd name="connsiteY48" fmla="*/ 133784 h 314728"/>
              <a:gd name="connsiteX49" fmla="*/ 87830 w 460311"/>
              <a:gd name="connsiteY49" fmla="*/ 110477 h 314728"/>
              <a:gd name="connsiteX50" fmla="*/ 111137 w 460311"/>
              <a:gd name="connsiteY50" fmla="*/ 110477 h 314728"/>
              <a:gd name="connsiteX51" fmla="*/ 265335 w 460311"/>
              <a:gd name="connsiteY51" fmla="*/ 279452 h 314728"/>
              <a:gd name="connsiteX52" fmla="*/ 196933 w 460311"/>
              <a:gd name="connsiteY52" fmla="*/ 279452 h 314728"/>
              <a:gd name="connsiteX53" fmla="*/ 196933 w 460311"/>
              <a:gd name="connsiteY53" fmla="*/ 194162 h 314728"/>
              <a:gd name="connsiteX54" fmla="*/ 265335 w 460311"/>
              <a:gd name="connsiteY54" fmla="*/ 194162 h 314728"/>
              <a:gd name="connsiteX55" fmla="*/ 229192 w 460311"/>
              <a:gd name="connsiteY55" fmla="*/ 121033 h 314728"/>
              <a:gd name="connsiteX56" fmla="*/ 171938 w 460311"/>
              <a:gd name="connsiteY56" fmla="*/ 63779 h 314728"/>
              <a:gd name="connsiteX57" fmla="*/ 229192 w 460311"/>
              <a:gd name="connsiteY57" fmla="*/ 6525 h 314728"/>
              <a:gd name="connsiteX58" fmla="*/ 286446 w 460311"/>
              <a:gd name="connsiteY58" fmla="*/ 63779 h 314728"/>
              <a:gd name="connsiteX59" fmla="*/ 229361 w 460311"/>
              <a:gd name="connsiteY59" fmla="*/ 121033 h 314728"/>
              <a:gd name="connsiteX60" fmla="*/ 229192 w 460311"/>
              <a:gd name="connsiteY60" fmla="*/ 121033 h 314728"/>
              <a:gd name="connsiteX61" fmla="*/ 376971 w 460311"/>
              <a:gd name="connsiteY61" fmla="*/ 213923 h 314728"/>
              <a:gd name="connsiteX62" fmla="*/ 353749 w 460311"/>
              <a:gd name="connsiteY62" fmla="*/ 213923 h 314728"/>
              <a:gd name="connsiteX63" fmla="*/ 353749 w 460311"/>
              <a:gd name="connsiteY63" fmla="*/ 190700 h 314728"/>
              <a:gd name="connsiteX64" fmla="*/ 376971 w 460311"/>
              <a:gd name="connsiteY64" fmla="*/ 190700 h 314728"/>
              <a:gd name="connsiteX65" fmla="*/ 376971 w 460311"/>
              <a:gd name="connsiteY65" fmla="*/ 173051 h 314728"/>
              <a:gd name="connsiteX66" fmla="*/ 353749 w 460311"/>
              <a:gd name="connsiteY66" fmla="*/ 173051 h 314728"/>
              <a:gd name="connsiteX67" fmla="*/ 353749 w 460311"/>
              <a:gd name="connsiteY67" fmla="*/ 149744 h 314728"/>
              <a:gd name="connsiteX68" fmla="*/ 376971 w 460311"/>
              <a:gd name="connsiteY68" fmla="*/ 149744 h 314728"/>
              <a:gd name="connsiteX69" fmla="*/ 376971 w 460311"/>
              <a:gd name="connsiteY69" fmla="*/ 133531 h 314728"/>
              <a:gd name="connsiteX70" fmla="*/ 353749 w 460311"/>
              <a:gd name="connsiteY70" fmla="*/ 133531 h 314728"/>
              <a:gd name="connsiteX71" fmla="*/ 353749 w 460311"/>
              <a:gd name="connsiteY71" fmla="*/ 110224 h 314728"/>
              <a:gd name="connsiteX72" fmla="*/ 376971 w 460311"/>
              <a:gd name="connsiteY72" fmla="*/ 110224 h 314728"/>
              <a:gd name="connsiteX73" fmla="*/ 413282 w 460311"/>
              <a:gd name="connsiteY73" fmla="*/ 213923 h 314728"/>
              <a:gd name="connsiteX74" fmla="*/ 389976 w 460311"/>
              <a:gd name="connsiteY74" fmla="*/ 213923 h 314728"/>
              <a:gd name="connsiteX75" fmla="*/ 389976 w 460311"/>
              <a:gd name="connsiteY75" fmla="*/ 190700 h 314728"/>
              <a:gd name="connsiteX76" fmla="*/ 413282 w 460311"/>
              <a:gd name="connsiteY76" fmla="*/ 190700 h 314728"/>
              <a:gd name="connsiteX77" fmla="*/ 413282 w 460311"/>
              <a:gd name="connsiteY77" fmla="*/ 173051 h 314728"/>
              <a:gd name="connsiteX78" fmla="*/ 389976 w 460311"/>
              <a:gd name="connsiteY78" fmla="*/ 173051 h 314728"/>
              <a:gd name="connsiteX79" fmla="*/ 389976 w 460311"/>
              <a:gd name="connsiteY79" fmla="*/ 149744 h 314728"/>
              <a:gd name="connsiteX80" fmla="*/ 413282 w 460311"/>
              <a:gd name="connsiteY80" fmla="*/ 149744 h 314728"/>
              <a:gd name="connsiteX81" fmla="*/ 413282 w 460311"/>
              <a:gd name="connsiteY81" fmla="*/ 133531 h 314728"/>
              <a:gd name="connsiteX82" fmla="*/ 389976 w 460311"/>
              <a:gd name="connsiteY82" fmla="*/ 133531 h 314728"/>
              <a:gd name="connsiteX83" fmla="*/ 389976 w 460311"/>
              <a:gd name="connsiteY83" fmla="*/ 110224 h 314728"/>
              <a:gd name="connsiteX84" fmla="*/ 413282 w 460311"/>
              <a:gd name="connsiteY84" fmla="*/ 110224 h 314728"/>
              <a:gd name="connsiteX85" fmla="*/ 243378 w 460311"/>
              <a:gd name="connsiteY85" fmla="*/ 49085 h 314728"/>
              <a:gd name="connsiteX86" fmla="*/ 265335 w 460311"/>
              <a:gd name="connsiteY86" fmla="*/ 49085 h 314728"/>
              <a:gd name="connsiteX87" fmla="*/ 265335 w 460311"/>
              <a:gd name="connsiteY87" fmla="*/ 77543 h 314728"/>
              <a:gd name="connsiteX88" fmla="*/ 243378 w 460311"/>
              <a:gd name="connsiteY88" fmla="*/ 77543 h 314728"/>
              <a:gd name="connsiteX89" fmla="*/ 243378 w 460311"/>
              <a:gd name="connsiteY89" fmla="*/ 100259 h 314728"/>
              <a:gd name="connsiteX90" fmla="*/ 214920 w 460311"/>
              <a:gd name="connsiteY90" fmla="*/ 100259 h 314728"/>
              <a:gd name="connsiteX91" fmla="*/ 214920 w 460311"/>
              <a:gd name="connsiteY91" fmla="*/ 78388 h 314728"/>
              <a:gd name="connsiteX92" fmla="*/ 193049 w 460311"/>
              <a:gd name="connsiteY92" fmla="*/ 78388 h 314728"/>
              <a:gd name="connsiteX93" fmla="*/ 193049 w 460311"/>
              <a:gd name="connsiteY93" fmla="*/ 49592 h 314728"/>
              <a:gd name="connsiteX94" fmla="*/ 214920 w 460311"/>
              <a:gd name="connsiteY94" fmla="*/ 49592 h 314728"/>
              <a:gd name="connsiteX95" fmla="*/ 214920 w 460311"/>
              <a:gd name="connsiteY95" fmla="*/ 27636 h 314728"/>
              <a:gd name="connsiteX96" fmla="*/ 243378 w 460311"/>
              <a:gd name="connsiteY96" fmla="*/ 27636 h 314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460311" h="314728">
                <a:moveTo>
                  <a:pt x="433549" y="280550"/>
                </a:moveTo>
                <a:cubicBezTo>
                  <a:pt x="434056" y="278887"/>
                  <a:pt x="434393" y="277147"/>
                  <a:pt x="434393" y="275399"/>
                </a:cubicBezTo>
                <a:lnTo>
                  <a:pt x="434393" y="86157"/>
                </a:lnTo>
                <a:cubicBezTo>
                  <a:pt x="434393" y="77189"/>
                  <a:pt x="427131" y="69901"/>
                  <a:pt x="418180" y="69859"/>
                </a:cubicBezTo>
                <a:lnTo>
                  <a:pt x="327740" y="69859"/>
                </a:lnTo>
                <a:lnTo>
                  <a:pt x="327740" y="271346"/>
                </a:lnTo>
                <a:cubicBezTo>
                  <a:pt x="327740" y="274479"/>
                  <a:pt x="327148" y="277594"/>
                  <a:pt x="326135" y="280550"/>
                </a:cubicBezTo>
                <a:lnTo>
                  <a:pt x="315495" y="280550"/>
                </a:lnTo>
                <a:cubicBezTo>
                  <a:pt x="316002" y="278887"/>
                  <a:pt x="316339" y="277147"/>
                  <a:pt x="316339" y="275399"/>
                </a:cubicBezTo>
                <a:lnTo>
                  <a:pt x="316339" y="15814"/>
                </a:lnTo>
                <a:cubicBezTo>
                  <a:pt x="316339" y="6863"/>
                  <a:pt x="309077" y="-400"/>
                  <a:pt x="300126" y="-400"/>
                </a:cubicBezTo>
                <a:lnTo>
                  <a:pt x="158257" y="-400"/>
                </a:lnTo>
                <a:cubicBezTo>
                  <a:pt x="149307" y="-450"/>
                  <a:pt x="142044" y="6778"/>
                  <a:pt x="141960" y="15729"/>
                </a:cubicBezTo>
                <a:cubicBezTo>
                  <a:pt x="141960" y="15755"/>
                  <a:pt x="141960" y="15789"/>
                  <a:pt x="141960" y="15814"/>
                </a:cubicBezTo>
                <a:lnTo>
                  <a:pt x="141960" y="275737"/>
                </a:lnTo>
                <a:cubicBezTo>
                  <a:pt x="141960" y="277485"/>
                  <a:pt x="142297" y="279224"/>
                  <a:pt x="142804" y="280888"/>
                </a:cubicBezTo>
                <a:lnTo>
                  <a:pt x="132249" y="280888"/>
                </a:lnTo>
                <a:cubicBezTo>
                  <a:pt x="131151" y="277949"/>
                  <a:pt x="130644" y="274825"/>
                  <a:pt x="130644" y="271683"/>
                </a:cubicBezTo>
                <a:lnTo>
                  <a:pt x="130644" y="69859"/>
                </a:lnTo>
                <a:lnTo>
                  <a:pt x="42230" y="69859"/>
                </a:lnTo>
                <a:cubicBezTo>
                  <a:pt x="33278" y="69901"/>
                  <a:pt x="26016" y="77189"/>
                  <a:pt x="26016" y="86157"/>
                </a:cubicBezTo>
                <a:lnTo>
                  <a:pt x="26016" y="275399"/>
                </a:lnTo>
                <a:cubicBezTo>
                  <a:pt x="26016" y="277147"/>
                  <a:pt x="26354" y="278887"/>
                  <a:pt x="26861" y="280550"/>
                </a:cubicBezTo>
                <a:lnTo>
                  <a:pt x="-1091" y="280550"/>
                </a:lnTo>
                <a:lnTo>
                  <a:pt x="-1091" y="314328"/>
                </a:lnTo>
                <a:lnTo>
                  <a:pt x="459221" y="314328"/>
                </a:lnTo>
                <a:lnTo>
                  <a:pt x="459221" y="280550"/>
                </a:lnTo>
                <a:close/>
                <a:moveTo>
                  <a:pt x="74825" y="214176"/>
                </a:moveTo>
                <a:lnTo>
                  <a:pt x="51518" y="214176"/>
                </a:lnTo>
                <a:lnTo>
                  <a:pt x="51518" y="190953"/>
                </a:lnTo>
                <a:lnTo>
                  <a:pt x="74825" y="190953"/>
                </a:lnTo>
                <a:close/>
                <a:moveTo>
                  <a:pt x="74825" y="173304"/>
                </a:moveTo>
                <a:lnTo>
                  <a:pt x="51518" y="173304"/>
                </a:lnTo>
                <a:lnTo>
                  <a:pt x="51518" y="149998"/>
                </a:lnTo>
                <a:lnTo>
                  <a:pt x="74825" y="149998"/>
                </a:lnTo>
                <a:close/>
                <a:moveTo>
                  <a:pt x="74825" y="133784"/>
                </a:moveTo>
                <a:lnTo>
                  <a:pt x="51518" y="133784"/>
                </a:lnTo>
                <a:lnTo>
                  <a:pt x="51518" y="110477"/>
                </a:lnTo>
                <a:lnTo>
                  <a:pt x="74825" y="110477"/>
                </a:lnTo>
                <a:close/>
                <a:moveTo>
                  <a:pt x="111137" y="214176"/>
                </a:moveTo>
                <a:lnTo>
                  <a:pt x="87830" y="214176"/>
                </a:lnTo>
                <a:lnTo>
                  <a:pt x="87830" y="190953"/>
                </a:lnTo>
                <a:lnTo>
                  <a:pt x="111137" y="190953"/>
                </a:lnTo>
                <a:close/>
                <a:moveTo>
                  <a:pt x="111137" y="173304"/>
                </a:moveTo>
                <a:lnTo>
                  <a:pt x="87830" y="173304"/>
                </a:lnTo>
                <a:lnTo>
                  <a:pt x="87830" y="149998"/>
                </a:lnTo>
                <a:lnTo>
                  <a:pt x="111137" y="149998"/>
                </a:lnTo>
                <a:close/>
                <a:moveTo>
                  <a:pt x="111137" y="133784"/>
                </a:moveTo>
                <a:lnTo>
                  <a:pt x="87830" y="133784"/>
                </a:lnTo>
                <a:lnTo>
                  <a:pt x="87830" y="110477"/>
                </a:lnTo>
                <a:lnTo>
                  <a:pt x="111137" y="110477"/>
                </a:lnTo>
                <a:close/>
                <a:moveTo>
                  <a:pt x="265335" y="279452"/>
                </a:moveTo>
                <a:lnTo>
                  <a:pt x="196933" y="279452"/>
                </a:lnTo>
                <a:lnTo>
                  <a:pt x="196933" y="194162"/>
                </a:lnTo>
                <a:lnTo>
                  <a:pt x="265335" y="194162"/>
                </a:lnTo>
                <a:close/>
                <a:moveTo>
                  <a:pt x="229192" y="121033"/>
                </a:moveTo>
                <a:cubicBezTo>
                  <a:pt x="197609" y="121033"/>
                  <a:pt x="171938" y="95395"/>
                  <a:pt x="171938" y="63779"/>
                </a:cubicBezTo>
                <a:cubicBezTo>
                  <a:pt x="171938" y="32162"/>
                  <a:pt x="197609" y="6525"/>
                  <a:pt x="229192" y="6525"/>
                </a:cubicBezTo>
                <a:cubicBezTo>
                  <a:pt x="260774" y="6525"/>
                  <a:pt x="286446" y="32162"/>
                  <a:pt x="286446" y="63779"/>
                </a:cubicBezTo>
                <a:cubicBezTo>
                  <a:pt x="286530" y="95353"/>
                  <a:pt x="260943" y="120982"/>
                  <a:pt x="229361" y="121033"/>
                </a:cubicBezTo>
                <a:cubicBezTo>
                  <a:pt x="229276" y="121033"/>
                  <a:pt x="229276" y="121033"/>
                  <a:pt x="229192" y="121033"/>
                </a:cubicBezTo>
                <a:close/>
                <a:moveTo>
                  <a:pt x="376971" y="213923"/>
                </a:moveTo>
                <a:lnTo>
                  <a:pt x="353749" y="213923"/>
                </a:lnTo>
                <a:lnTo>
                  <a:pt x="353749" y="190700"/>
                </a:lnTo>
                <a:lnTo>
                  <a:pt x="376971" y="190700"/>
                </a:lnTo>
                <a:close/>
                <a:moveTo>
                  <a:pt x="376971" y="173051"/>
                </a:moveTo>
                <a:lnTo>
                  <a:pt x="353749" y="173051"/>
                </a:lnTo>
                <a:lnTo>
                  <a:pt x="353749" y="149744"/>
                </a:lnTo>
                <a:lnTo>
                  <a:pt x="376971" y="149744"/>
                </a:lnTo>
                <a:close/>
                <a:moveTo>
                  <a:pt x="376971" y="133531"/>
                </a:moveTo>
                <a:lnTo>
                  <a:pt x="353749" y="133531"/>
                </a:lnTo>
                <a:lnTo>
                  <a:pt x="353749" y="110224"/>
                </a:lnTo>
                <a:lnTo>
                  <a:pt x="376971" y="110224"/>
                </a:lnTo>
                <a:close/>
                <a:moveTo>
                  <a:pt x="413282" y="213923"/>
                </a:moveTo>
                <a:lnTo>
                  <a:pt x="389976" y="213923"/>
                </a:lnTo>
                <a:lnTo>
                  <a:pt x="389976" y="190700"/>
                </a:lnTo>
                <a:lnTo>
                  <a:pt x="413282" y="190700"/>
                </a:lnTo>
                <a:close/>
                <a:moveTo>
                  <a:pt x="413282" y="173051"/>
                </a:moveTo>
                <a:lnTo>
                  <a:pt x="389976" y="173051"/>
                </a:lnTo>
                <a:lnTo>
                  <a:pt x="389976" y="149744"/>
                </a:lnTo>
                <a:lnTo>
                  <a:pt x="413282" y="149744"/>
                </a:lnTo>
                <a:close/>
                <a:moveTo>
                  <a:pt x="413282" y="133531"/>
                </a:moveTo>
                <a:lnTo>
                  <a:pt x="389976" y="133531"/>
                </a:lnTo>
                <a:lnTo>
                  <a:pt x="389976" y="110224"/>
                </a:lnTo>
                <a:lnTo>
                  <a:pt x="413282" y="110224"/>
                </a:lnTo>
                <a:close/>
                <a:moveTo>
                  <a:pt x="243378" y="49085"/>
                </a:moveTo>
                <a:lnTo>
                  <a:pt x="265335" y="49085"/>
                </a:lnTo>
                <a:lnTo>
                  <a:pt x="265335" y="77543"/>
                </a:lnTo>
                <a:lnTo>
                  <a:pt x="243378" y="77543"/>
                </a:lnTo>
                <a:lnTo>
                  <a:pt x="243378" y="100259"/>
                </a:lnTo>
                <a:lnTo>
                  <a:pt x="214920" y="100259"/>
                </a:lnTo>
                <a:lnTo>
                  <a:pt x="214920" y="78388"/>
                </a:lnTo>
                <a:lnTo>
                  <a:pt x="193049" y="78388"/>
                </a:lnTo>
                <a:lnTo>
                  <a:pt x="193049" y="49592"/>
                </a:lnTo>
                <a:lnTo>
                  <a:pt x="214920" y="49592"/>
                </a:lnTo>
                <a:lnTo>
                  <a:pt x="214920" y="27636"/>
                </a:lnTo>
                <a:lnTo>
                  <a:pt x="243378" y="27636"/>
                </a:lnTo>
                <a:close/>
              </a:path>
            </a:pathLst>
          </a:custGeom>
          <a:solidFill>
            <a:srgbClr val="0054B8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19" name="Espaço Reservado para Conteúdo 2">
            <a:extLst>
              <a:ext uri="{FF2B5EF4-FFF2-40B4-BE49-F238E27FC236}">
                <a16:creationId xmlns:a16="http://schemas.microsoft.com/office/drawing/2014/main" id="{A5627759-0673-7297-5099-514C48E427FE}"/>
              </a:ext>
            </a:extLst>
          </p:cNvPr>
          <p:cNvSpPr txBox="1">
            <a:spLocks/>
          </p:cNvSpPr>
          <p:nvPr/>
        </p:nvSpPr>
        <p:spPr>
          <a:xfrm>
            <a:off x="5448965" y="4018352"/>
            <a:ext cx="2654091" cy="593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2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ospitais</a:t>
            </a:r>
          </a:p>
        </p:txBody>
      </p:sp>
      <p:sp>
        <p:nvSpPr>
          <p:cNvPr id="120" name="Espaço Reservado para Conteúdo 2">
            <a:extLst>
              <a:ext uri="{FF2B5EF4-FFF2-40B4-BE49-F238E27FC236}">
                <a16:creationId xmlns:a16="http://schemas.microsoft.com/office/drawing/2014/main" id="{E80A338C-6654-76F4-B60C-5D41A7B9D9FA}"/>
              </a:ext>
            </a:extLst>
          </p:cNvPr>
          <p:cNvSpPr txBox="1">
            <a:spLocks/>
          </p:cNvSpPr>
          <p:nvPr/>
        </p:nvSpPr>
        <p:spPr>
          <a:xfrm>
            <a:off x="4204425" y="3818958"/>
            <a:ext cx="1342696" cy="9207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5</a:t>
            </a:r>
          </a:p>
        </p:txBody>
      </p:sp>
      <p:sp>
        <p:nvSpPr>
          <p:cNvPr id="111" name="Forma Livre: Forma 110">
            <a:extLst>
              <a:ext uri="{FF2B5EF4-FFF2-40B4-BE49-F238E27FC236}">
                <a16:creationId xmlns:a16="http://schemas.microsoft.com/office/drawing/2014/main" id="{451AEFFE-0AD2-D275-F531-640F414034E5}"/>
              </a:ext>
            </a:extLst>
          </p:cNvPr>
          <p:cNvSpPr/>
          <p:nvPr/>
        </p:nvSpPr>
        <p:spPr>
          <a:xfrm>
            <a:off x="2911246" y="8847378"/>
            <a:ext cx="5069411" cy="1363422"/>
          </a:xfrm>
          <a:custGeom>
            <a:avLst/>
            <a:gdLst>
              <a:gd name="connsiteX0" fmla="*/ 2933631 w 3037161"/>
              <a:gd name="connsiteY0" fmla="*/ 0 h 786439"/>
              <a:gd name="connsiteX1" fmla="*/ 3037161 w 3037161"/>
              <a:gd name="connsiteY1" fmla="*/ 0 h 786439"/>
              <a:gd name="connsiteX2" fmla="*/ 3037161 w 3037161"/>
              <a:gd name="connsiteY2" fmla="*/ 786440 h 786439"/>
              <a:gd name="connsiteX3" fmla="*/ 2933631 w 3037161"/>
              <a:gd name="connsiteY3" fmla="*/ 786440 h 786439"/>
              <a:gd name="connsiteX4" fmla="*/ 103530 w 3037161"/>
              <a:gd name="connsiteY4" fmla="*/ 786440 h 786439"/>
              <a:gd name="connsiteX5" fmla="*/ 0 w 3037161"/>
              <a:gd name="connsiteY5" fmla="*/ 786440 h 786439"/>
              <a:gd name="connsiteX6" fmla="*/ 0 w 3037161"/>
              <a:gd name="connsiteY6" fmla="*/ 0 h 786439"/>
              <a:gd name="connsiteX7" fmla="*/ 103530 w 3037161"/>
              <a:gd name="connsiteY7" fmla="*/ 0 h 78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37161" h="786439">
                <a:moveTo>
                  <a:pt x="2933631" y="0"/>
                </a:moveTo>
                <a:cubicBezTo>
                  <a:pt x="2990809" y="0"/>
                  <a:pt x="3037161" y="0"/>
                  <a:pt x="3037161" y="0"/>
                </a:cubicBezTo>
                <a:lnTo>
                  <a:pt x="3037161" y="786440"/>
                </a:lnTo>
                <a:cubicBezTo>
                  <a:pt x="3037161" y="786440"/>
                  <a:pt x="2990809" y="786440"/>
                  <a:pt x="2933631" y="786440"/>
                </a:cubicBezTo>
                <a:lnTo>
                  <a:pt x="103530" y="786440"/>
                </a:lnTo>
                <a:cubicBezTo>
                  <a:pt x="46352" y="786440"/>
                  <a:pt x="0" y="786440"/>
                  <a:pt x="0" y="786440"/>
                </a:cubicBezTo>
                <a:lnTo>
                  <a:pt x="0" y="0"/>
                </a:lnTo>
                <a:cubicBezTo>
                  <a:pt x="0" y="0"/>
                  <a:pt x="46352" y="0"/>
                  <a:pt x="103530" y="0"/>
                </a:cubicBezTo>
                <a:close/>
              </a:path>
            </a:pathLst>
          </a:custGeom>
          <a:solidFill>
            <a:srgbClr val="0054B8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2" name="Forma Livre: Forma 111">
            <a:extLst>
              <a:ext uri="{FF2B5EF4-FFF2-40B4-BE49-F238E27FC236}">
                <a16:creationId xmlns:a16="http://schemas.microsoft.com/office/drawing/2014/main" id="{9D6083FB-8103-D575-6DBB-EBFD819D27F1}"/>
              </a:ext>
            </a:extLst>
          </p:cNvPr>
          <p:cNvSpPr/>
          <p:nvPr/>
        </p:nvSpPr>
        <p:spPr>
          <a:xfrm>
            <a:off x="2714793" y="8847376"/>
            <a:ext cx="1315697" cy="1363424"/>
          </a:xfrm>
          <a:custGeom>
            <a:avLst/>
            <a:gdLst>
              <a:gd name="connsiteX0" fmla="*/ 90779 w 758910"/>
              <a:gd name="connsiteY0" fmla="*/ 0 h 786440"/>
              <a:gd name="connsiteX1" fmla="*/ 758910 w 758910"/>
              <a:gd name="connsiteY1" fmla="*/ 0 h 786440"/>
              <a:gd name="connsiteX2" fmla="*/ 758910 w 758910"/>
              <a:gd name="connsiteY2" fmla="*/ 0 h 786440"/>
              <a:gd name="connsiteX3" fmla="*/ 758910 w 758910"/>
              <a:gd name="connsiteY3" fmla="*/ 786440 h 786440"/>
              <a:gd name="connsiteX4" fmla="*/ 758910 w 758910"/>
              <a:gd name="connsiteY4" fmla="*/ 786440 h 786440"/>
              <a:gd name="connsiteX5" fmla="*/ 100237 w 758910"/>
              <a:gd name="connsiteY5" fmla="*/ 786440 h 786440"/>
              <a:gd name="connsiteX6" fmla="*/ 0 w 758910"/>
              <a:gd name="connsiteY6" fmla="*/ 686204 h 786440"/>
              <a:gd name="connsiteX7" fmla="*/ 0 w 758910"/>
              <a:gd name="connsiteY7" fmla="*/ 90610 h 786440"/>
              <a:gd name="connsiteX8" fmla="*/ 90441 w 758910"/>
              <a:gd name="connsiteY8" fmla="*/ 0 h 786440"/>
              <a:gd name="connsiteX9" fmla="*/ 90779 w 758910"/>
              <a:gd name="connsiteY9" fmla="*/ 0 h 786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8910" h="786440">
                <a:moveTo>
                  <a:pt x="90779" y="0"/>
                </a:moveTo>
                <a:lnTo>
                  <a:pt x="758910" y="0"/>
                </a:lnTo>
                <a:lnTo>
                  <a:pt x="758910" y="0"/>
                </a:lnTo>
                <a:lnTo>
                  <a:pt x="758910" y="786440"/>
                </a:lnTo>
                <a:lnTo>
                  <a:pt x="758910" y="786440"/>
                </a:lnTo>
                <a:lnTo>
                  <a:pt x="100237" y="786440"/>
                </a:lnTo>
                <a:cubicBezTo>
                  <a:pt x="44874" y="786440"/>
                  <a:pt x="0" y="741563"/>
                  <a:pt x="0" y="686204"/>
                </a:cubicBezTo>
                <a:lnTo>
                  <a:pt x="0" y="90610"/>
                </a:lnTo>
                <a:cubicBezTo>
                  <a:pt x="-51" y="40614"/>
                  <a:pt x="40441" y="47"/>
                  <a:pt x="90441" y="0"/>
                </a:cubicBezTo>
                <a:cubicBezTo>
                  <a:pt x="90551" y="0"/>
                  <a:pt x="90669" y="0"/>
                  <a:pt x="90779" y="0"/>
                </a:cubicBezTo>
                <a:close/>
              </a:path>
            </a:pathLst>
          </a:custGeom>
          <a:solidFill>
            <a:srgbClr val="FFAD00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13" name="Forma Livre: Forma 112">
            <a:extLst>
              <a:ext uri="{FF2B5EF4-FFF2-40B4-BE49-F238E27FC236}">
                <a16:creationId xmlns:a16="http://schemas.microsoft.com/office/drawing/2014/main" id="{24B00FD0-EB4F-DE74-3FA0-DA855ED0293B}"/>
              </a:ext>
            </a:extLst>
          </p:cNvPr>
          <p:cNvSpPr/>
          <p:nvPr/>
        </p:nvSpPr>
        <p:spPr>
          <a:xfrm>
            <a:off x="3038838" y="9211252"/>
            <a:ext cx="784120" cy="672093"/>
          </a:xfrm>
          <a:custGeom>
            <a:avLst/>
            <a:gdLst>
              <a:gd name="connsiteX0" fmla="*/ 367598 w 388369"/>
              <a:gd name="connsiteY0" fmla="*/ 81934 h 332883"/>
              <a:gd name="connsiteX1" fmla="*/ 276312 w 388369"/>
              <a:gd name="connsiteY1" fmla="*/ 81934 h 332883"/>
              <a:gd name="connsiteX2" fmla="*/ 276312 w 388369"/>
              <a:gd name="connsiteY2" fmla="*/ 19782 h 332883"/>
              <a:gd name="connsiteX3" fmla="*/ 256975 w 388369"/>
              <a:gd name="connsiteY3" fmla="*/ -392 h 332883"/>
              <a:gd name="connsiteX4" fmla="*/ 256636 w 388369"/>
              <a:gd name="connsiteY4" fmla="*/ -400 h 332883"/>
              <a:gd name="connsiteX5" fmla="*/ 132249 w 388369"/>
              <a:gd name="connsiteY5" fmla="*/ -400 h 332883"/>
              <a:gd name="connsiteX6" fmla="*/ 111559 w 388369"/>
              <a:gd name="connsiteY6" fmla="*/ 19782 h 332883"/>
              <a:gd name="connsiteX7" fmla="*/ 111559 w 388369"/>
              <a:gd name="connsiteY7" fmla="*/ 81934 h 332883"/>
              <a:gd name="connsiteX8" fmla="*/ 19598 w 388369"/>
              <a:gd name="connsiteY8" fmla="*/ 81934 h 332883"/>
              <a:gd name="connsiteX9" fmla="*/ -1091 w 388369"/>
              <a:gd name="connsiteY9" fmla="*/ 102117 h 332883"/>
              <a:gd name="connsiteX10" fmla="*/ -1091 w 388369"/>
              <a:gd name="connsiteY10" fmla="*/ 312301 h 332883"/>
              <a:gd name="connsiteX11" fmla="*/ 19598 w 388369"/>
              <a:gd name="connsiteY11" fmla="*/ 332484 h 332883"/>
              <a:gd name="connsiteX12" fmla="*/ 367598 w 388369"/>
              <a:gd name="connsiteY12" fmla="*/ 332484 h 332883"/>
              <a:gd name="connsiteX13" fmla="*/ 387273 w 388369"/>
              <a:gd name="connsiteY13" fmla="*/ 312647 h 332883"/>
              <a:gd name="connsiteX14" fmla="*/ 387273 w 388369"/>
              <a:gd name="connsiteY14" fmla="*/ 312301 h 332883"/>
              <a:gd name="connsiteX15" fmla="*/ 387273 w 388369"/>
              <a:gd name="connsiteY15" fmla="*/ 102370 h 332883"/>
              <a:gd name="connsiteX16" fmla="*/ 367935 w 388369"/>
              <a:gd name="connsiteY16" fmla="*/ 82196 h 332883"/>
              <a:gd name="connsiteX17" fmla="*/ 367598 w 388369"/>
              <a:gd name="connsiteY17" fmla="*/ 82187 h 332883"/>
              <a:gd name="connsiteX18" fmla="*/ 138413 w 388369"/>
              <a:gd name="connsiteY18" fmla="*/ 26453 h 332883"/>
              <a:gd name="connsiteX19" fmla="*/ 249374 w 388369"/>
              <a:gd name="connsiteY19" fmla="*/ 26453 h 332883"/>
              <a:gd name="connsiteX20" fmla="*/ 249374 w 388369"/>
              <a:gd name="connsiteY20" fmla="*/ 81934 h 332883"/>
              <a:gd name="connsiteX21" fmla="*/ 138413 w 388369"/>
              <a:gd name="connsiteY21" fmla="*/ 81934 h 332883"/>
              <a:gd name="connsiteX22" fmla="*/ 262801 w 388369"/>
              <a:gd name="connsiteY22" fmla="*/ 234949 h 332883"/>
              <a:gd name="connsiteX23" fmla="*/ 220578 w 388369"/>
              <a:gd name="connsiteY23" fmla="*/ 234949 h 332883"/>
              <a:gd name="connsiteX24" fmla="*/ 220578 w 388369"/>
              <a:gd name="connsiteY24" fmla="*/ 277172 h 332883"/>
              <a:gd name="connsiteX25" fmla="*/ 165098 w 388369"/>
              <a:gd name="connsiteY25" fmla="*/ 277172 h 332883"/>
              <a:gd name="connsiteX26" fmla="*/ 165098 w 388369"/>
              <a:gd name="connsiteY26" fmla="*/ 234949 h 332883"/>
              <a:gd name="connsiteX27" fmla="*/ 122875 w 388369"/>
              <a:gd name="connsiteY27" fmla="*/ 234949 h 332883"/>
              <a:gd name="connsiteX28" fmla="*/ 122875 w 388369"/>
              <a:gd name="connsiteY28" fmla="*/ 179468 h 332883"/>
              <a:gd name="connsiteX29" fmla="*/ 165098 w 388369"/>
              <a:gd name="connsiteY29" fmla="*/ 179468 h 332883"/>
              <a:gd name="connsiteX30" fmla="*/ 165098 w 388369"/>
              <a:gd name="connsiteY30" fmla="*/ 137246 h 332883"/>
              <a:gd name="connsiteX31" fmla="*/ 220578 w 388369"/>
              <a:gd name="connsiteY31" fmla="*/ 137246 h 332883"/>
              <a:gd name="connsiteX32" fmla="*/ 220578 w 388369"/>
              <a:gd name="connsiteY32" fmla="*/ 179468 h 332883"/>
              <a:gd name="connsiteX33" fmla="*/ 262801 w 388369"/>
              <a:gd name="connsiteY33" fmla="*/ 179468 h 332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88369" h="332883">
                <a:moveTo>
                  <a:pt x="367598" y="81934"/>
                </a:moveTo>
                <a:lnTo>
                  <a:pt x="276312" y="81934"/>
                </a:lnTo>
                <a:lnTo>
                  <a:pt x="276312" y="19782"/>
                </a:lnTo>
                <a:cubicBezTo>
                  <a:pt x="276565" y="8872"/>
                  <a:pt x="267867" y="-164"/>
                  <a:pt x="256975" y="-392"/>
                </a:cubicBezTo>
                <a:cubicBezTo>
                  <a:pt x="256890" y="-400"/>
                  <a:pt x="256721" y="-400"/>
                  <a:pt x="256636" y="-400"/>
                </a:cubicBezTo>
                <a:lnTo>
                  <a:pt x="132249" y="-400"/>
                </a:lnTo>
                <a:cubicBezTo>
                  <a:pt x="121017" y="-400"/>
                  <a:pt x="111812" y="8551"/>
                  <a:pt x="111559" y="19782"/>
                </a:cubicBezTo>
                <a:lnTo>
                  <a:pt x="111559" y="81934"/>
                </a:lnTo>
                <a:lnTo>
                  <a:pt x="19598" y="81934"/>
                </a:lnTo>
                <a:cubicBezTo>
                  <a:pt x="8367" y="81883"/>
                  <a:pt x="-837" y="90869"/>
                  <a:pt x="-1091" y="102117"/>
                </a:cubicBezTo>
                <a:lnTo>
                  <a:pt x="-1091" y="312301"/>
                </a:lnTo>
                <a:cubicBezTo>
                  <a:pt x="-837" y="323549"/>
                  <a:pt x="8367" y="332534"/>
                  <a:pt x="19598" y="332484"/>
                </a:cubicBezTo>
                <a:lnTo>
                  <a:pt x="367598" y="332484"/>
                </a:lnTo>
                <a:cubicBezTo>
                  <a:pt x="378491" y="332441"/>
                  <a:pt x="387358" y="323558"/>
                  <a:pt x="387273" y="312647"/>
                </a:cubicBezTo>
                <a:cubicBezTo>
                  <a:pt x="387273" y="312529"/>
                  <a:pt x="387273" y="312419"/>
                  <a:pt x="387273" y="312301"/>
                </a:cubicBezTo>
                <a:lnTo>
                  <a:pt x="387273" y="102370"/>
                </a:lnTo>
                <a:cubicBezTo>
                  <a:pt x="387527" y="91459"/>
                  <a:pt x="378829" y="82424"/>
                  <a:pt x="367935" y="82196"/>
                </a:cubicBezTo>
                <a:cubicBezTo>
                  <a:pt x="367851" y="82187"/>
                  <a:pt x="367682" y="82187"/>
                  <a:pt x="367598" y="82187"/>
                </a:cubicBezTo>
                <a:close/>
                <a:moveTo>
                  <a:pt x="138413" y="26453"/>
                </a:moveTo>
                <a:lnTo>
                  <a:pt x="249374" y="26453"/>
                </a:lnTo>
                <a:lnTo>
                  <a:pt x="249374" y="81934"/>
                </a:lnTo>
                <a:lnTo>
                  <a:pt x="138413" y="81934"/>
                </a:lnTo>
                <a:close/>
                <a:moveTo>
                  <a:pt x="262801" y="234949"/>
                </a:moveTo>
                <a:lnTo>
                  <a:pt x="220578" y="234949"/>
                </a:lnTo>
                <a:lnTo>
                  <a:pt x="220578" y="277172"/>
                </a:lnTo>
                <a:lnTo>
                  <a:pt x="165098" y="277172"/>
                </a:lnTo>
                <a:lnTo>
                  <a:pt x="165098" y="234949"/>
                </a:lnTo>
                <a:lnTo>
                  <a:pt x="122875" y="234949"/>
                </a:lnTo>
                <a:lnTo>
                  <a:pt x="122875" y="179468"/>
                </a:lnTo>
                <a:lnTo>
                  <a:pt x="165098" y="179468"/>
                </a:lnTo>
                <a:lnTo>
                  <a:pt x="165098" y="137246"/>
                </a:lnTo>
                <a:lnTo>
                  <a:pt x="220578" y="137246"/>
                </a:lnTo>
                <a:lnTo>
                  <a:pt x="220578" y="179468"/>
                </a:lnTo>
                <a:lnTo>
                  <a:pt x="262801" y="179468"/>
                </a:lnTo>
                <a:close/>
              </a:path>
            </a:pathLst>
          </a:custGeom>
          <a:solidFill>
            <a:srgbClr val="0054B8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114" name="Espaço Reservado para Conteúdo 2">
            <a:extLst>
              <a:ext uri="{FF2B5EF4-FFF2-40B4-BE49-F238E27FC236}">
                <a16:creationId xmlns:a16="http://schemas.microsoft.com/office/drawing/2014/main" id="{399783FE-4A30-952D-4517-D55DAB39B6CA}"/>
              </a:ext>
            </a:extLst>
          </p:cNvPr>
          <p:cNvSpPr txBox="1">
            <a:spLocks/>
          </p:cNvSpPr>
          <p:nvPr/>
        </p:nvSpPr>
        <p:spPr>
          <a:xfrm>
            <a:off x="5437321" y="9131703"/>
            <a:ext cx="2428384" cy="7673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ntos Atendimentos</a:t>
            </a:r>
          </a:p>
        </p:txBody>
      </p:sp>
      <p:sp>
        <p:nvSpPr>
          <p:cNvPr id="115" name="Espaço Reservado para Conteúdo 2">
            <a:extLst>
              <a:ext uri="{FF2B5EF4-FFF2-40B4-BE49-F238E27FC236}">
                <a16:creationId xmlns:a16="http://schemas.microsoft.com/office/drawing/2014/main" id="{411E50FA-5576-2F15-3029-F6B7F5DD9120}"/>
              </a:ext>
            </a:extLst>
          </p:cNvPr>
          <p:cNvSpPr txBox="1">
            <a:spLocks/>
          </p:cNvSpPr>
          <p:nvPr/>
        </p:nvSpPr>
        <p:spPr>
          <a:xfrm>
            <a:off x="4164004" y="9060648"/>
            <a:ext cx="1342694" cy="920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7</a:t>
            </a:r>
          </a:p>
        </p:txBody>
      </p:sp>
      <p:sp>
        <p:nvSpPr>
          <p:cNvPr id="104" name="Forma Livre: Forma 103">
            <a:extLst>
              <a:ext uri="{FF2B5EF4-FFF2-40B4-BE49-F238E27FC236}">
                <a16:creationId xmlns:a16="http://schemas.microsoft.com/office/drawing/2014/main" id="{1B25597F-EBC4-B20D-EED6-1F0C93950A57}"/>
              </a:ext>
            </a:extLst>
          </p:cNvPr>
          <p:cNvSpPr/>
          <p:nvPr/>
        </p:nvSpPr>
        <p:spPr>
          <a:xfrm>
            <a:off x="2978167" y="5364741"/>
            <a:ext cx="5001168" cy="1363424"/>
          </a:xfrm>
          <a:custGeom>
            <a:avLst/>
            <a:gdLst>
              <a:gd name="connsiteX0" fmla="*/ 2933632 w 3037161"/>
              <a:gd name="connsiteY0" fmla="*/ 0 h 786439"/>
              <a:gd name="connsiteX1" fmla="*/ 3037162 w 3037161"/>
              <a:gd name="connsiteY1" fmla="*/ 0 h 786439"/>
              <a:gd name="connsiteX2" fmla="*/ 3037162 w 3037161"/>
              <a:gd name="connsiteY2" fmla="*/ 786440 h 786439"/>
              <a:gd name="connsiteX3" fmla="*/ 2933632 w 3037161"/>
              <a:gd name="connsiteY3" fmla="*/ 786440 h 786439"/>
              <a:gd name="connsiteX4" fmla="*/ 103530 w 3037161"/>
              <a:gd name="connsiteY4" fmla="*/ 786440 h 786439"/>
              <a:gd name="connsiteX5" fmla="*/ 0 w 3037161"/>
              <a:gd name="connsiteY5" fmla="*/ 786440 h 786439"/>
              <a:gd name="connsiteX6" fmla="*/ 0 w 3037161"/>
              <a:gd name="connsiteY6" fmla="*/ 0 h 786439"/>
              <a:gd name="connsiteX7" fmla="*/ 103530 w 3037161"/>
              <a:gd name="connsiteY7" fmla="*/ 0 h 78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37161" h="786439">
                <a:moveTo>
                  <a:pt x="2933632" y="0"/>
                </a:moveTo>
                <a:cubicBezTo>
                  <a:pt x="2990809" y="0"/>
                  <a:pt x="3037162" y="0"/>
                  <a:pt x="3037162" y="0"/>
                </a:cubicBezTo>
                <a:lnTo>
                  <a:pt x="3037162" y="786440"/>
                </a:lnTo>
                <a:cubicBezTo>
                  <a:pt x="3037162" y="786440"/>
                  <a:pt x="2990809" y="786440"/>
                  <a:pt x="2933632" y="786440"/>
                </a:cubicBezTo>
                <a:lnTo>
                  <a:pt x="103530" y="786440"/>
                </a:lnTo>
                <a:cubicBezTo>
                  <a:pt x="46352" y="786440"/>
                  <a:pt x="0" y="786440"/>
                  <a:pt x="0" y="786440"/>
                </a:cubicBezTo>
                <a:lnTo>
                  <a:pt x="0" y="0"/>
                </a:lnTo>
                <a:cubicBezTo>
                  <a:pt x="0" y="0"/>
                  <a:pt x="46352" y="0"/>
                  <a:pt x="103530" y="0"/>
                </a:cubicBezTo>
                <a:close/>
              </a:path>
            </a:pathLst>
          </a:custGeom>
          <a:solidFill>
            <a:srgbClr val="0054B8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5" name="Forma Livre: Forma 104">
            <a:extLst>
              <a:ext uri="{FF2B5EF4-FFF2-40B4-BE49-F238E27FC236}">
                <a16:creationId xmlns:a16="http://schemas.microsoft.com/office/drawing/2014/main" id="{C2061B5B-CB8B-BA43-20EB-CBA7BC9EC116}"/>
              </a:ext>
            </a:extLst>
          </p:cNvPr>
          <p:cNvSpPr/>
          <p:nvPr/>
        </p:nvSpPr>
        <p:spPr>
          <a:xfrm>
            <a:off x="2713901" y="5364741"/>
            <a:ext cx="1363426" cy="1363424"/>
          </a:xfrm>
          <a:custGeom>
            <a:avLst/>
            <a:gdLst>
              <a:gd name="connsiteX0" fmla="*/ 90525 w 786439"/>
              <a:gd name="connsiteY0" fmla="*/ 0 h 786439"/>
              <a:gd name="connsiteX1" fmla="*/ 786440 w 786439"/>
              <a:gd name="connsiteY1" fmla="*/ 0 h 786439"/>
              <a:gd name="connsiteX2" fmla="*/ 786440 w 786439"/>
              <a:gd name="connsiteY2" fmla="*/ 0 h 786439"/>
              <a:gd name="connsiteX3" fmla="*/ 786440 w 786439"/>
              <a:gd name="connsiteY3" fmla="*/ 786440 h 786439"/>
              <a:gd name="connsiteX4" fmla="*/ 786440 w 786439"/>
              <a:gd name="connsiteY4" fmla="*/ 786440 h 786439"/>
              <a:gd name="connsiteX5" fmla="*/ 100237 w 786439"/>
              <a:gd name="connsiteY5" fmla="*/ 786440 h 786439"/>
              <a:gd name="connsiteX6" fmla="*/ 0 w 786439"/>
              <a:gd name="connsiteY6" fmla="*/ 686203 h 786439"/>
              <a:gd name="connsiteX7" fmla="*/ 0 w 786439"/>
              <a:gd name="connsiteY7" fmla="*/ 90525 h 786439"/>
              <a:gd name="connsiteX8" fmla="*/ 90525 w 786439"/>
              <a:gd name="connsiteY8" fmla="*/ 0 h 78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6439" h="786439">
                <a:moveTo>
                  <a:pt x="90525" y="0"/>
                </a:moveTo>
                <a:lnTo>
                  <a:pt x="786440" y="0"/>
                </a:lnTo>
                <a:lnTo>
                  <a:pt x="786440" y="0"/>
                </a:lnTo>
                <a:lnTo>
                  <a:pt x="786440" y="786440"/>
                </a:lnTo>
                <a:lnTo>
                  <a:pt x="786440" y="786440"/>
                </a:lnTo>
                <a:lnTo>
                  <a:pt x="100237" y="786440"/>
                </a:lnTo>
                <a:cubicBezTo>
                  <a:pt x="44874" y="786440"/>
                  <a:pt x="0" y="741562"/>
                  <a:pt x="0" y="686203"/>
                </a:cubicBezTo>
                <a:lnTo>
                  <a:pt x="0" y="90525"/>
                </a:lnTo>
                <a:cubicBezTo>
                  <a:pt x="0" y="40530"/>
                  <a:pt x="40534" y="0"/>
                  <a:pt x="90525" y="0"/>
                </a:cubicBezTo>
                <a:close/>
              </a:path>
            </a:pathLst>
          </a:custGeom>
          <a:solidFill>
            <a:srgbClr val="FFAD00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106" name="Agrupar 105">
            <a:extLst>
              <a:ext uri="{FF2B5EF4-FFF2-40B4-BE49-F238E27FC236}">
                <a16:creationId xmlns:a16="http://schemas.microsoft.com/office/drawing/2014/main" id="{06FEC9F1-1FCD-D36D-4380-E6FF9C22E714}"/>
              </a:ext>
            </a:extLst>
          </p:cNvPr>
          <p:cNvGrpSpPr/>
          <p:nvPr/>
        </p:nvGrpSpPr>
        <p:grpSpPr>
          <a:xfrm>
            <a:off x="3073046" y="5736784"/>
            <a:ext cx="693884" cy="693142"/>
            <a:chOff x="526950" y="4222618"/>
            <a:chExt cx="319248" cy="319249"/>
          </a:xfrm>
        </p:grpSpPr>
        <p:sp>
          <p:nvSpPr>
            <p:cNvPr id="109" name="Forma Livre: Forma 108">
              <a:extLst>
                <a:ext uri="{FF2B5EF4-FFF2-40B4-BE49-F238E27FC236}">
                  <a16:creationId xmlns:a16="http://schemas.microsoft.com/office/drawing/2014/main" id="{407FB00E-12A9-0B50-2CD2-810EA51A2B90}"/>
                </a:ext>
              </a:extLst>
            </p:cNvPr>
            <p:cNvSpPr/>
            <p:nvPr/>
          </p:nvSpPr>
          <p:spPr>
            <a:xfrm>
              <a:off x="526950" y="4330285"/>
              <a:ext cx="319248" cy="103916"/>
            </a:xfrm>
            <a:custGeom>
              <a:avLst/>
              <a:gdLst>
                <a:gd name="connsiteX0" fmla="*/ 319795 w 352305"/>
                <a:gd name="connsiteY0" fmla="*/ 0 h 114676"/>
                <a:gd name="connsiteX1" fmla="*/ 352306 w 352305"/>
                <a:gd name="connsiteY1" fmla="*/ 0 h 114676"/>
                <a:gd name="connsiteX2" fmla="*/ 352306 w 352305"/>
                <a:gd name="connsiteY2" fmla="*/ 114677 h 114676"/>
                <a:gd name="connsiteX3" fmla="*/ 319795 w 352305"/>
                <a:gd name="connsiteY3" fmla="*/ 114677 h 114676"/>
                <a:gd name="connsiteX4" fmla="*/ 32511 w 352305"/>
                <a:gd name="connsiteY4" fmla="*/ 114677 h 114676"/>
                <a:gd name="connsiteX5" fmla="*/ 0 w 352305"/>
                <a:gd name="connsiteY5" fmla="*/ 114677 h 114676"/>
                <a:gd name="connsiteX6" fmla="*/ 0 w 352305"/>
                <a:gd name="connsiteY6" fmla="*/ 0 h 114676"/>
                <a:gd name="connsiteX7" fmla="*/ 32511 w 352305"/>
                <a:gd name="connsiteY7" fmla="*/ 0 h 114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305" h="114676">
                  <a:moveTo>
                    <a:pt x="319795" y="0"/>
                  </a:moveTo>
                  <a:cubicBezTo>
                    <a:pt x="337750" y="0"/>
                    <a:pt x="352306" y="0"/>
                    <a:pt x="352306" y="0"/>
                  </a:cubicBezTo>
                  <a:lnTo>
                    <a:pt x="352306" y="114677"/>
                  </a:lnTo>
                  <a:cubicBezTo>
                    <a:pt x="352306" y="114677"/>
                    <a:pt x="337750" y="114677"/>
                    <a:pt x="319795" y="114677"/>
                  </a:cubicBezTo>
                  <a:lnTo>
                    <a:pt x="32511" y="114677"/>
                  </a:lnTo>
                  <a:cubicBezTo>
                    <a:pt x="14556" y="114677"/>
                    <a:pt x="0" y="114677"/>
                    <a:pt x="0" y="114677"/>
                  </a:cubicBezTo>
                  <a:lnTo>
                    <a:pt x="0" y="0"/>
                  </a:lnTo>
                  <a:cubicBezTo>
                    <a:pt x="0" y="0"/>
                    <a:pt x="14556" y="0"/>
                    <a:pt x="32511" y="0"/>
                  </a:cubicBezTo>
                  <a:close/>
                </a:path>
              </a:pathLst>
            </a:custGeom>
            <a:solidFill>
              <a:srgbClr val="0054B8"/>
            </a:solidFill>
            <a:ln w="84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10" name="Forma Livre: Forma 109">
              <a:extLst>
                <a:ext uri="{FF2B5EF4-FFF2-40B4-BE49-F238E27FC236}">
                  <a16:creationId xmlns:a16="http://schemas.microsoft.com/office/drawing/2014/main" id="{BD64D7F4-C375-8C0F-BDC3-B860F08B73CB}"/>
                </a:ext>
              </a:extLst>
            </p:cNvPr>
            <p:cNvSpPr/>
            <p:nvPr/>
          </p:nvSpPr>
          <p:spPr>
            <a:xfrm>
              <a:off x="634615" y="4222618"/>
              <a:ext cx="103916" cy="319249"/>
            </a:xfrm>
            <a:custGeom>
              <a:avLst/>
              <a:gdLst>
                <a:gd name="connsiteX0" fmla="*/ 82165 w 114676"/>
                <a:gd name="connsiteY0" fmla="*/ 0 h 352306"/>
                <a:gd name="connsiteX1" fmla="*/ 114677 w 114676"/>
                <a:gd name="connsiteY1" fmla="*/ 0 h 352306"/>
                <a:gd name="connsiteX2" fmla="*/ 114677 w 114676"/>
                <a:gd name="connsiteY2" fmla="*/ 352306 h 352306"/>
                <a:gd name="connsiteX3" fmla="*/ 82165 w 114676"/>
                <a:gd name="connsiteY3" fmla="*/ 352306 h 352306"/>
                <a:gd name="connsiteX4" fmla="*/ 32512 w 114676"/>
                <a:gd name="connsiteY4" fmla="*/ 352306 h 352306"/>
                <a:gd name="connsiteX5" fmla="*/ 0 w 114676"/>
                <a:gd name="connsiteY5" fmla="*/ 352306 h 352306"/>
                <a:gd name="connsiteX6" fmla="*/ 0 w 114676"/>
                <a:gd name="connsiteY6" fmla="*/ 0 h 352306"/>
                <a:gd name="connsiteX7" fmla="*/ 32512 w 114676"/>
                <a:gd name="connsiteY7" fmla="*/ 0 h 352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676" h="352306">
                  <a:moveTo>
                    <a:pt x="82165" y="0"/>
                  </a:moveTo>
                  <a:cubicBezTo>
                    <a:pt x="100121" y="0"/>
                    <a:pt x="114677" y="0"/>
                    <a:pt x="114677" y="0"/>
                  </a:cubicBezTo>
                  <a:lnTo>
                    <a:pt x="114677" y="352306"/>
                  </a:lnTo>
                  <a:cubicBezTo>
                    <a:pt x="114677" y="352306"/>
                    <a:pt x="100121" y="352306"/>
                    <a:pt x="82165" y="352306"/>
                  </a:cubicBezTo>
                  <a:lnTo>
                    <a:pt x="32512" y="352306"/>
                  </a:lnTo>
                  <a:cubicBezTo>
                    <a:pt x="14556" y="352306"/>
                    <a:pt x="0" y="352306"/>
                    <a:pt x="0" y="352306"/>
                  </a:cubicBezTo>
                  <a:lnTo>
                    <a:pt x="0" y="0"/>
                  </a:lnTo>
                  <a:cubicBezTo>
                    <a:pt x="0" y="0"/>
                    <a:pt x="14556" y="0"/>
                    <a:pt x="32512" y="0"/>
                  </a:cubicBezTo>
                  <a:close/>
                </a:path>
              </a:pathLst>
            </a:custGeom>
            <a:solidFill>
              <a:srgbClr val="0054B8"/>
            </a:solidFill>
            <a:ln w="84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107" name="Espaço Reservado para Conteúdo 2">
            <a:extLst>
              <a:ext uri="{FF2B5EF4-FFF2-40B4-BE49-F238E27FC236}">
                <a16:creationId xmlns:a16="http://schemas.microsoft.com/office/drawing/2014/main" id="{4AEDFA24-9625-2B22-87FF-0613B803D91E}"/>
              </a:ext>
            </a:extLst>
          </p:cNvPr>
          <p:cNvSpPr txBox="1">
            <a:spLocks/>
          </p:cNvSpPr>
          <p:nvPr/>
        </p:nvSpPr>
        <p:spPr>
          <a:xfrm>
            <a:off x="5544004" y="5677244"/>
            <a:ext cx="2287397" cy="593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2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ínicas</a:t>
            </a:r>
            <a:endParaRPr lang="pt-BR" sz="2000" b="1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Espaço Reservado para Conteúdo 2">
            <a:extLst>
              <a:ext uri="{FF2B5EF4-FFF2-40B4-BE49-F238E27FC236}">
                <a16:creationId xmlns:a16="http://schemas.microsoft.com/office/drawing/2014/main" id="{926FA769-A094-5C35-C8CA-CBE4BE6B7AF7}"/>
              </a:ext>
            </a:extLst>
          </p:cNvPr>
          <p:cNvSpPr txBox="1">
            <a:spLocks/>
          </p:cNvSpPr>
          <p:nvPr/>
        </p:nvSpPr>
        <p:spPr>
          <a:xfrm>
            <a:off x="4198041" y="5574342"/>
            <a:ext cx="2035881" cy="9207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18</a:t>
            </a:r>
          </a:p>
        </p:txBody>
      </p:sp>
      <p:sp>
        <p:nvSpPr>
          <p:cNvPr id="67" name="Forma Livre: Forma 66">
            <a:extLst>
              <a:ext uri="{FF2B5EF4-FFF2-40B4-BE49-F238E27FC236}">
                <a16:creationId xmlns:a16="http://schemas.microsoft.com/office/drawing/2014/main" id="{4F35A0F4-BB1B-AB55-5E5E-BCD87E8894DD}"/>
              </a:ext>
            </a:extLst>
          </p:cNvPr>
          <p:cNvSpPr/>
          <p:nvPr/>
        </p:nvSpPr>
        <p:spPr>
          <a:xfrm>
            <a:off x="2985615" y="10588691"/>
            <a:ext cx="4994879" cy="1363424"/>
          </a:xfrm>
          <a:custGeom>
            <a:avLst/>
            <a:gdLst>
              <a:gd name="connsiteX0" fmla="*/ 2933632 w 3037161"/>
              <a:gd name="connsiteY0" fmla="*/ 0 h 786439"/>
              <a:gd name="connsiteX1" fmla="*/ 3037162 w 3037161"/>
              <a:gd name="connsiteY1" fmla="*/ 0 h 786439"/>
              <a:gd name="connsiteX2" fmla="*/ 3037162 w 3037161"/>
              <a:gd name="connsiteY2" fmla="*/ 786440 h 786439"/>
              <a:gd name="connsiteX3" fmla="*/ 2933632 w 3037161"/>
              <a:gd name="connsiteY3" fmla="*/ 786440 h 786439"/>
              <a:gd name="connsiteX4" fmla="*/ 103530 w 3037161"/>
              <a:gd name="connsiteY4" fmla="*/ 786440 h 786439"/>
              <a:gd name="connsiteX5" fmla="*/ 0 w 3037161"/>
              <a:gd name="connsiteY5" fmla="*/ 786440 h 786439"/>
              <a:gd name="connsiteX6" fmla="*/ 0 w 3037161"/>
              <a:gd name="connsiteY6" fmla="*/ 0 h 786439"/>
              <a:gd name="connsiteX7" fmla="*/ 103530 w 3037161"/>
              <a:gd name="connsiteY7" fmla="*/ 0 h 78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37161" h="786439">
                <a:moveTo>
                  <a:pt x="2933632" y="0"/>
                </a:moveTo>
                <a:cubicBezTo>
                  <a:pt x="2990810" y="0"/>
                  <a:pt x="3037162" y="0"/>
                  <a:pt x="3037162" y="0"/>
                </a:cubicBezTo>
                <a:lnTo>
                  <a:pt x="3037162" y="786440"/>
                </a:lnTo>
                <a:cubicBezTo>
                  <a:pt x="3037162" y="786440"/>
                  <a:pt x="2990810" y="786440"/>
                  <a:pt x="2933632" y="786440"/>
                </a:cubicBezTo>
                <a:lnTo>
                  <a:pt x="103530" y="786440"/>
                </a:lnTo>
                <a:cubicBezTo>
                  <a:pt x="46352" y="786440"/>
                  <a:pt x="0" y="786440"/>
                  <a:pt x="0" y="786440"/>
                </a:cubicBezTo>
                <a:lnTo>
                  <a:pt x="0" y="0"/>
                </a:lnTo>
                <a:cubicBezTo>
                  <a:pt x="0" y="0"/>
                  <a:pt x="46352" y="0"/>
                  <a:pt x="103530" y="0"/>
                </a:cubicBezTo>
                <a:close/>
              </a:path>
            </a:pathLst>
          </a:custGeom>
          <a:solidFill>
            <a:srgbClr val="0054B8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9" name="Forma Livre: Forma 68">
            <a:extLst>
              <a:ext uri="{FF2B5EF4-FFF2-40B4-BE49-F238E27FC236}">
                <a16:creationId xmlns:a16="http://schemas.microsoft.com/office/drawing/2014/main" id="{517B5E10-2575-8A5B-6DFA-21EC9908FDD4}"/>
              </a:ext>
            </a:extLst>
          </p:cNvPr>
          <p:cNvSpPr/>
          <p:nvPr/>
        </p:nvSpPr>
        <p:spPr>
          <a:xfrm>
            <a:off x="2714622" y="10588691"/>
            <a:ext cx="1315699" cy="1363424"/>
          </a:xfrm>
          <a:custGeom>
            <a:avLst/>
            <a:gdLst>
              <a:gd name="connsiteX0" fmla="*/ 90779 w 758910"/>
              <a:gd name="connsiteY0" fmla="*/ 0 h 786440"/>
              <a:gd name="connsiteX1" fmla="*/ 758910 w 758910"/>
              <a:gd name="connsiteY1" fmla="*/ 0 h 786440"/>
              <a:gd name="connsiteX2" fmla="*/ 758910 w 758910"/>
              <a:gd name="connsiteY2" fmla="*/ 0 h 786440"/>
              <a:gd name="connsiteX3" fmla="*/ 758910 w 758910"/>
              <a:gd name="connsiteY3" fmla="*/ 786440 h 786440"/>
              <a:gd name="connsiteX4" fmla="*/ 758910 w 758910"/>
              <a:gd name="connsiteY4" fmla="*/ 786440 h 786440"/>
              <a:gd name="connsiteX5" fmla="*/ 100237 w 758910"/>
              <a:gd name="connsiteY5" fmla="*/ 786440 h 786440"/>
              <a:gd name="connsiteX6" fmla="*/ 0 w 758910"/>
              <a:gd name="connsiteY6" fmla="*/ 686204 h 786440"/>
              <a:gd name="connsiteX7" fmla="*/ 0 w 758910"/>
              <a:gd name="connsiteY7" fmla="*/ 90526 h 786440"/>
              <a:gd name="connsiteX8" fmla="*/ 90525 w 758910"/>
              <a:gd name="connsiteY8" fmla="*/ 0 h 786440"/>
              <a:gd name="connsiteX9" fmla="*/ 90779 w 758910"/>
              <a:gd name="connsiteY9" fmla="*/ 0 h 786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8910" h="786440">
                <a:moveTo>
                  <a:pt x="90779" y="0"/>
                </a:moveTo>
                <a:lnTo>
                  <a:pt x="758910" y="0"/>
                </a:lnTo>
                <a:lnTo>
                  <a:pt x="758910" y="0"/>
                </a:lnTo>
                <a:lnTo>
                  <a:pt x="758910" y="786440"/>
                </a:lnTo>
                <a:lnTo>
                  <a:pt x="758910" y="786440"/>
                </a:lnTo>
                <a:lnTo>
                  <a:pt x="100237" y="786440"/>
                </a:lnTo>
                <a:cubicBezTo>
                  <a:pt x="44841" y="786440"/>
                  <a:pt x="0" y="741563"/>
                  <a:pt x="0" y="686204"/>
                </a:cubicBezTo>
                <a:lnTo>
                  <a:pt x="0" y="90526"/>
                </a:lnTo>
                <a:cubicBezTo>
                  <a:pt x="0" y="40530"/>
                  <a:pt x="40534" y="0"/>
                  <a:pt x="90525" y="0"/>
                </a:cubicBezTo>
                <a:cubicBezTo>
                  <a:pt x="90610" y="0"/>
                  <a:pt x="90694" y="0"/>
                  <a:pt x="90779" y="0"/>
                </a:cubicBezTo>
                <a:close/>
              </a:path>
            </a:pathLst>
          </a:custGeom>
          <a:solidFill>
            <a:srgbClr val="FFAD00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grpSp>
        <p:nvGrpSpPr>
          <p:cNvPr id="70" name="Agrupar 69">
            <a:extLst>
              <a:ext uri="{FF2B5EF4-FFF2-40B4-BE49-F238E27FC236}">
                <a16:creationId xmlns:a16="http://schemas.microsoft.com/office/drawing/2014/main" id="{AA9D8252-DB5F-EB07-0D1B-7E25C7248F8E}"/>
              </a:ext>
            </a:extLst>
          </p:cNvPr>
          <p:cNvGrpSpPr/>
          <p:nvPr/>
        </p:nvGrpSpPr>
        <p:grpSpPr>
          <a:xfrm>
            <a:off x="3055762" y="10920689"/>
            <a:ext cx="669941" cy="752260"/>
            <a:chOff x="10798550" y="5007511"/>
            <a:chExt cx="291842" cy="388731"/>
          </a:xfrm>
        </p:grpSpPr>
        <p:sp>
          <p:nvSpPr>
            <p:cNvPr id="101" name="Forma Livre: Forma 100">
              <a:extLst>
                <a:ext uri="{FF2B5EF4-FFF2-40B4-BE49-F238E27FC236}">
                  <a16:creationId xmlns:a16="http://schemas.microsoft.com/office/drawing/2014/main" id="{3269B268-02E5-B0B6-5F07-61A9895D7BE8}"/>
                </a:ext>
              </a:extLst>
            </p:cNvPr>
            <p:cNvSpPr/>
            <p:nvPr/>
          </p:nvSpPr>
          <p:spPr>
            <a:xfrm>
              <a:off x="10871764" y="5007511"/>
              <a:ext cx="145838" cy="97139"/>
            </a:xfrm>
            <a:custGeom>
              <a:avLst/>
              <a:gdLst>
                <a:gd name="connsiteX0" fmla="*/ 132587 w 145838"/>
                <a:gd name="connsiteY0" fmla="*/ 23863 h 97139"/>
                <a:gd name="connsiteX1" fmla="*/ 106154 w 145838"/>
                <a:gd name="connsiteY1" fmla="*/ 23863 h 97139"/>
                <a:gd name="connsiteX2" fmla="*/ 59540 w 145838"/>
                <a:gd name="connsiteY2" fmla="*/ 1721 h 97139"/>
                <a:gd name="connsiteX3" fmla="*/ 37417 w 145838"/>
                <a:gd name="connsiteY3" fmla="*/ 23863 h 97139"/>
                <a:gd name="connsiteX4" fmla="*/ 11069 w 145838"/>
                <a:gd name="connsiteY4" fmla="*/ 23863 h 97139"/>
                <a:gd name="connsiteX5" fmla="*/ -1091 w 145838"/>
                <a:gd name="connsiteY5" fmla="*/ 36023 h 97139"/>
                <a:gd name="connsiteX6" fmla="*/ -1091 w 145838"/>
                <a:gd name="connsiteY6" fmla="*/ 84579 h 97139"/>
                <a:gd name="connsiteX7" fmla="*/ 11069 w 145838"/>
                <a:gd name="connsiteY7" fmla="*/ 96739 h 97139"/>
                <a:gd name="connsiteX8" fmla="*/ 132587 w 145838"/>
                <a:gd name="connsiteY8" fmla="*/ 96739 h 97139"/>
                <a:gd name="connsiteX9" fmla="*/ 144746 w 145838"/>
                <a:gd name="connsiteY9" fmla="*/ 84579 h 97139"/>
                <a:gd name="connsiteX10" fmla="*/ 144746 w 145838"/>
                <a:gd name="connsiteY10" fmla="*/ 36192 h 97139"/>
                <a:gd name="connsiteX11" fmla="*/ 132754 w 145838"/>
                <a:gd name="connsiteY11" fmla="*/ 23863 h 97139"/>
                <a:gd name="connsiteX12" fmla="*/ 132587 w 145838"/>
                <a:gd name="connsiteY12" fmla="*/ 23863 h 97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838" h="97139">
                  <a:moveTo>
                    <a:pt x="132587" y="23863"/>
                  </a:moveTo>
                  <a:lnTo>
                    <a:pt x="106154" y="23863"/>
                  </a:lnTo>
                  <a:cubicBezTo>
                    <a:pt x="99398" y="4879"/>
                    <a:pt x="78540" y="-5034"/>
                    <a:pt x="59540" y="1721"/>
                  </a:cubicBezTo>
                  <a:cubicBezTo>
                    <a:pt x="49238" y="5403"/>
                    <a:pt x="41132" y="13527"/>
                    <a:pt x="37417" y="23863"/>
                  </a:cubicBezTo>
                  <a:lnTo>
                    <a:pt x="11069" y="23863"/>
                  </a:lnTo>
                  <a:cubicBezTo>
                    <a:pt x="4313" y="23863"/>
                    <a:pt x="-1091" y="29310"/>
                    <a:pt x="-1091" y="36023"/>
                  </a:cubicBezTo>
                  <a:lnTo>
                    <a:pt x="-1091" y="84579"/>
                  </a:lnTo>
                  <a:cubicBezTo>
                    <a:pt x="-1091" y="91292"/>
                    <a:pt x="4313" y="96739"/>
                    <a:pt x="11069" y="96739"/>
                  </a:cubicBezTo>
                  <a:lnTo>
                    <a:pt x="132587" y="96739"/>
                  </a:lnTo>
                  <a:cubicBezTo>
                    <a:pt x="139341" y="96739"/>
                    <a:pt x="144746" y="91292"/>
                    <a:pt x="144746" y="84579"/>
                  </a:cubicBezTo>
                  <a:lnTo>
                    <a:pt x="144746" y="36192"/>
                  </a:lnTo>
                  <a:cubicBezTo>
                    <a:pt x="144831" y="29478"/>
                    <a:pt x="139510" y="23956"/>
                    <a:pt x="132754" y="23863"/>
                  </a:cubicBezTo>
                  <a:cubicBezTo>
                    <a:pt x="132669" y="23863"/>
                    <a:pt x="132669" y="23863"/>
                    <a:pt x="132587" y="23863"/>
                  </a:cubicBezTo>
                  <a:close/>
                </a:path>
              </a:pathLst>
            </a:custGeom>
            <a:solidFill>
              <a:srgbClr val="0054B8"/>
            </a:solidFill>
            <a:ln w="84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2" name="Forma Livre: Forma 101">
              <a:extLst>
                <a:ext uri="{FF2B5EF4-FFF2-40B4-BE49-F238E27FC236}">
                  <a16:creationId xmlns:a16="http://schemas.microsoft.com/office/drawing/2014/main" id="{BE521E74-456D-5970-9132-46BED6C65038}"/>
                </a:ext>
              </a:extLst>
            </p:cNvPr>
            <p:cNvSpPr/>
            <p:nvPr/>
          </p:nvSpPr>
          <p:spPr>
            <a:xfrm>
              <a:off x="10798800" y="5202860"/>
              <a:ext cx="291592" cy="193382"/>
            </a:xfrm>
            <a:custGeom>
              <a:avLst/>
              <a:gdLst>
                <a:gd name="connsiteX0" fmla="*/ 238314 w 291592"/>
                <a:gd name="connsiteY0" fmla="*/ 47227 h 193382"/>
                <a:gd name="connsiteX1" fmla="*/ 204536 w 291592"/>
                <a:gd name="connsiteY1" fmla="*/ 136486 h 193382"/>
                <a:gd name="connsiteX2" fmla="*/ 193135 w 291592"/>
                <a:gd name="connsiteY2" fmla="*/ 144424 h 193382"/>
                <a:gd name="connsiteX3" fmla="*/ 192630 w 291592"/>
                <a:gd name="connsiteY3" fmla="*/ 144424 h 193382"/>
                <a:gd name="connsiteX4" fmla="*/ 181483 w 291592"/>
                <a:gd name="connsiteY4" fmla="*/ 135557 h 193382"/>
                <a:gd name="connsiteX5" fmla="*/ 142637 w 291592"/>
                <a:gd name="connsiteY5" fmla="*/ -400 h 193382"/>
                <a:gd name="connsiteX6" fmla="*/ 107424 w 291592"/>
                <a:gd name="connsiteY6" fmla="*/ 88099 h 193382"/>
                <a:gd name="connsiteX7" fmla="*/ 97714 w 291592"/>
                <a:gd name="connsiteY7" fmla="*/ 95699 h 193382"/>
                <a:gd name="connsiteX8" fmla="*/ 86397 w 291592"/>
                <a:gd name="connsiteY8" fmla="*/ 90970 h 193382"/>
                <a:gd name="connsiteX9" fmla="*/ 53549 w 291592"/>
                <a:gd name="connsiteY9" fmla="*/ 47227 h 193382"/>
                <a:gd name="connsiteX10" fmla="*/ -1089 w 291592"/>
                <a:gd name="connsiteY10" fmla="*/ 47227 h 193382"/>
                <a:gd name="connsiteX11" fmla="*/ -1089 w 291592"/>
                <a:gd name="connsiteY11" fmla="*/ 168660 h 193382"/>
                <a:gd name="connsiteX12" fmla="*/ 22556 w 291592"/>
                <a:gd name="connsiteY12" fmla="*/ 192980 h 193382"/>
                <a:gd name="connsiteX13" fmla="*/ 23232 w 291592"/>
                <a:gd name="connsiteY13" fmla="*/ 192980 h 193382"/>
                <a:gd name="connsiteX14" fmla="*/ 266182 w 291592"/>
                <a:gd name="connsiteY14" fmla="*/ 192980 h 193382"/>
                <a:gd name="connsiteX15" fmla="*/ 290501 w 291592"/>
                <a:gd name="connsiteY15" fmla="*/ 169344 h 193382"/>
                <a:gd name="connsiteX16" fmla="*/ 290501 w 291592"/>
                <a:gd name="connsiteY16" fmla="*/ 168660 h 193382"/>
                <a:gd name="connsiteX17" fmla="*/ 290501 w 291592"/>
                <a:gd name="connsiteY17" fmla="*/ 47227 h 19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1592" h="193382">
                  <a:moveTo>
                    <a:pt x="238314" y="47227"/>
                  </a:moveTo>
                  <a:lnTo>
                    <a:pt x="204536" y="136486"/>
                  </a:lnTo>
                  <a:cubicBezTo>
                    <a:pt x="202763" y="141257"/>
                    <a:pt x="198203" y="144424"/>
                    <a:pt x="193135" y="144424"/>
                  </a:cubicBezTo>
                  <a:lnTo>
                    <a:pt x="192630" y="144424"/>
                  </a:lnTo>
                  <a:cubicBezTo>
                    <a:pt x="187394" y="144179"/>
                    <a:pt x="182918" y="140607"/>
                    <a:pt x="181483" y="135557"/>
                  </a:cubicBezTo>
                  <a:lnTo>
                    <a:pt x="142637" y="-400"/>
                  </a:lnTo>
                  <a:lnTo>
                    <a:pt x="107424" y="88099"/>
                  </a:lnTo>
                  <a:cubicBezTo>
                    <a:pt x="105736" y="92186"/>
                    <a:pt x="102105" y="95082"/>
                    <a:pt x="97714" y="95699"/>
                  </a:cubicBezTo>
                  <a:cubicBezTo>
                    <a:pt x="93407" y="96281"/>
                    <a:pt x="89016" y="94474"/>
                    <a:pt x="86397" y="90970"/>
                  </a:cubicBezTo>
                  <a:lnTo>
                    <a:pt x="53549" y="47227"/>
                  </a:lnTo>
                  <a:lnTo>
                    <a:pt x="-1089" y="47227"/>
                  </a:lnTo>
                  <a:lnTo>
                    <a:pt x="-1089" y="168660"/>
                  </a:lnTo>
                  <a:cubicBezTo>
                    <a:pt x="-1258" y="181901"/>
                    <a:pt x="9298" y="192794"/>
                    <a:pt x="22556" y="192980"/>
                  </a:cubicBezTo>
                  <a:cubicBezTo>
                    <a:pt x="22810" y="192980"/>
                    <a:pt x="22979" y="192980"/>
                    <a:pt x="23232" y="192980"/>
                  </a:cubicBezTo>
                  <a:lnTo>
                    <a:pt x="266182" y="192980"/>
                  </a:lnTo>
                  <a:cubicBezTo>
                    <a:pt x="279440" y="193166"/>
                    <a:pt x="290332" y="182585"/>
                    <a:pt x="290501" y="169344"/>
                  </a:cubicBezTo>
                  <a:cubicBezTo>
                    <a:pt x="290501" y="169116"/>
                    <a:pt x="290501" y="168888"/>
                    <a:pt x="290501" y="168660"/>
                  </a:cubicBezTo>
                  <a:lnTo>
                    <a:pt x="290501" y="47227"/>
                  </a:lnTo>
                  <a:close/>
                </a:path>
              </a:pathLst>
            </a:custGeom>
            <a:solidFill>
              <a:srgbClr val="0054B8"/>
            </a:solidFill>
            <a:ln w="84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  <p:sp>
          <p:nvSpPr>
            <p:cNvPr id="103" name="Forma Livre: Forma 102">
              <a:extLst>
                <a:ext uri="{FF2B5EF4-FFF2-40B4-BE49-F238E27FC236}">
                  <a16:creationId xmlns:a16="http://schemas.microsoft.com/office/drawing/2014/main" id="{F3C23E81-5650-F7CA-4684-4E64D8E84E05}"/>
                </a:ext>
              </a:extLst>
            </p:cNvPr>
            <p:cNvSpPr/>
            <p:nvPr/>
          </p:nvSpPr>
          <p:spPr>
            <a:xfrm>
              <a:off x="10798550" y="5056095"/>
              <a:ext cx="291589" cy="240753"/>
            </a:xfrm>
            <a:custGeom>
              <a:avLst/>
              <a:gdLst>
                <a:gd name="connsiteX0" fmla="*/ 266516 w 291589"/>
                <a:gd name="connsiteY0" fmla="*/ -400 h 240753"/>
                <a:gd name="connsiteX1" fmla="*/ 242279 w 291589"/>
                <a:gd name="connsiteY1" fmla="*/ -400 h 240753"/>
                <a:gd name="connsiteX2" fmla="*/ 242279 w 291589"/>
                <a:gd name="connsiteY2" fmla="*/ 35996 h 240753"/>
                <a:gd name="connsiteX3" fmla="*/ 205800 w 291589"/>
                <a:gd name="connsiteY3" fmla="*/ 72476 h 240753"/>
                <a:gd name="connsiteX4" fmla="*/ 84282 w 291589"/>
                <a:gd name="connsiteY4" fmla="*/ 72476 h 240753"/>
                <a:gd name="connsiteX5" fmla="*/ 47886 w 291589"/>
                <a:gd name="connsiteY5" fmla="*/ 35996 h 240753"/>
                <a:gd name="connsiteX6" fmla="*/ 47886 w 291589"/>
                <a:gd name="connsiteY6" fmla="*/ -400 h 240753"/>
                <a:gd name="connsiteX7" fmla="*/ 23228 w 291589"/>
                <a:gd name="connsiteY7" fmla="*/ -400 h 240753"/>
                <a:gd name="connsiteX8" fmla="*/ -1091 w 291589"/>
                <a:gd name="connsiteY8" fmla="*/ 23836 h 240753"/>
                <a:gd name="connsiteX9" fmla="*/ -1091 w 291589"/>
                <a:gd name="connsiteY9" fmla="*/ 169673 h 240753"/>
                <a:gd name="connsiteX10" fmla="*/ 59625 w 291589"/>
                <a:gd name="connsiteY10" fmla="*/ 169673 h 240753"/>
                <a:gd name="connsiteX11" fmla="*/ 69420 w 291589"/>
                <a:gd name="connsiteY11" fmla="*/ 174486 h 240753"/>
                <a:gd name="connsiteX12" fmla="*/ 92811 w 291589"/>
                <a:gd name="connsiteY12" fmla="*/ 205815 h 240753"/>
                <a:gd name="connsiteX13" fmla="*/ 133430 w 291589"/>
                <a:gd name="connsiteY13" fmla="*/ 104481 h 240753"/>
                <a:gd name="connsiteX14" fmla="*/ 149220 w 291589"/>
                <a:gd name="connsiteY14" fmla="*/ 97742 h 240753"/>
                <a:gd name="connsiteX15" fmla="*/ 156399 w 291589"/>
                <a:gd name="connsiteY15" fmla="*/ 105663 h 240753"/>
                <a:gd name="connsiteX16" fmla="*/ 194822 w 291589"/>
                <a:gd name="connsiteY16" fmla="*/ 240353 h 240753"/>
                <a:gd name="connsiteX17" fmla="*/ 218382 w 291589"/>
                <a:gd name="connsiteY17" fmla="*/ 177611 h 240753"/>
                <a:gd name="connsiteX18" fmla="*/ 229781 w 291589"/>
                <a:gd name="connsiteY18" fmla="*/ 169757 h 240753"/>
                <a:gd name="connsiteX19" fmla="*/ 290497 w 291589"/>
                <a:gd name="connsiteY19" fmla="*/ 169757 h 240753"/>
                <a:gd name="connsiteX20" fmla="*/ 290497 w 291589"/>
                <a:gd name="connsiteY20" fmla="*/ 23836 h 240753"/>
                <a:gd name="connsiteX21" fmla="*/ 266769 w 291589"/>
                <a:gd name="connsiteY21" fmla="*/ -400 h 240753"/>
                <a:gd name="connsiteX22" fmla="*/ 266516 w 291589"/>
                <a:gd name="connsiteY22" fmla="*/ -400 h 240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91589" h="240753">
                  <a:moveTo>
                    <a:pt x="266516" y="-400"/>
                  </a:moveTo>
                  <a:lnTo>
                    <a:pt x="242279" y="-400"/>
                  </a:lnTo>
                  <a:lnTo>
                    <a:pt x="242279" y="35996"/>
                  </a:lnTo>
                  <a:cubicBezTo>
                    <a:pt x="242195" y="56128"/>
                    <a:pt x="225897" y="72434"/>
                    <a:pt x="205800" y="72476"/>
                  </a:cubicBezTo>
                  <a:lnTo>
                    <a:pt x="84282" y="72476"/>
                  </a:lnTo>
                  <a:cubicBezTo>
                    <a:pt x="64185" y="72426"/>
                    <a:pt x="47886" y="56111"/>
                    <a:pt x="47886" y="35996"/>
                  </a:cubicBezTo>
                  <a:lnTo>
                    <a:pt x="47886" y="-400"/>
                  </a:lnTo>
                  <a:lnTo>
                    <a:pt x="23228" y="-400"/>
                  </a:lnTo>
                  <a:cubicBezTo>
                    <a:pt x="9801" y="-400"/>
                    <a:pt x="-1008" y="10434"/>
                    <a:pt x="-1091" y="23836"/>
                  </a:cubicBezTo>
                  <a:lnTo>
                    <a:pt x="-1091" y="169673"/>
                  </a:lnTo>
                  <a:lnTo>
                    <a:pt x="59625" y="169673"/>
                  </a:lnTo>
                  <a:cubicBezTo>
                    <a:pt x="63424" y="169664"/>
                    <a:pt x="67055" y="171446"/>
                    <a:pt x="69420" y="174486"/>
                  </a:cubicBezTo>
                  <a:lnTo>
                    <a:pt x="92811" y="205815"/>
                  </a:lnTo>
                  <a:lnTo>
                    <a:pt x="133430" y="104481"/>
                  </a:lnTo>
                  <a:cubicBezTo>
                    <a:pt x="135964" y="98249"/>
                    <a:pt x="143056" y="95234"/>
                    <a:pt x="149220" y="97742"/>
                  </a:cubicBezTo>
                  <a:cubicBezTo>
                    <a:pt x="152684" y="99136"/>
                    <a:pt x="155385" y="102057"/>
                    <a:pt x="156399" y="105663"/>
                  </a:cubicBezTo>
                  <a:lnTo>
                    <a:pt x="194822" y="240353"/>
                  </a:lnTo>
                  <a:lnTo>
                    <a:pt x="218382" y="177611"/>
                  </a:lnTo>
                  <a:cubicBezTo>
                    <a:pt x="220155" y="172873"/>
                    <a:pt x="224716" y="169749"/>
                    <a:pt x="229781" y="169757"/>
                  </a:cubicBezTo>
                  <a:lnTo>
                    <a:pt x="290497" y="169757"/>
                  </a:lnTo>
                  <a:lnTo>
                    <a:pt x="290497" y="23836"/>
                  </a:lnTo>
                  <a:cubicBezTo>
                    <a:pt x="290666" y="10594"/>
                    <a:pt x="280026" y="-257"/>
                    <a:pt x="266769" y="-400"/>
                  </a:cubicBezTo>
                  <a:cubicBezTo>
                    <a:pt x="266685" y="-400"/>
                    <a:pt x="266600" y="-400"/>
                    <a:pt x="266516" y="-400"/>
                  </a:cubicBezTo>
                  <a:close/>
                </a:path>
              </a:pathLst>
            </a:custGeom>
            <a:solidFill>
              <a:srgbClr val="0054B8"/>
            </a:solidFill>
            <a:ln w="84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sp>
        <p:nvSpPr>
          <p:cNvPr id="71" name="Espaço Reservado para Conteúdo 2">
            <a:extLst>
              <a:ext uri="{FF2B5EF4-FFF2-40B4-BE49-F238E27FC236}">
                <a16:creationId xmlns:a16="http://schemas.microsoft.com/office/drawing/2014/main" id="{18C7C7FF-FE2A-5214-F152-02B66BCB7784}"/>
              </a:ext>
            </a:extLst>
          </p:cNvPr>
          <p:cNvSpPr txBox="1">
            <a:spLocks/>
          </p:cNvSpPr>
          <p:nvPr/>
        </p:nvSpPr>
        <p:spPr>
          <a:xfrm>
            <a:off x="5428863" y="10675483"/>
            <a:ext cx="2673329" cy="920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1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idades de Coleta Laboratorial e Diagnóstico </a:t>
            </a:r>
            <a:br>
              <a:rPr lang="pt-BR" sz="1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pt-BR" sz="1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r Imagem</a:t>
            </a:r>
          </a:p>
        </p:txBody>
      </p:sp>
      <p:sp>
        <p:nvSpPr>
          <p:cNvPr id="100" name="Espaço Reservado para Conteúdo 2">
            <a:extLst>
              <a:ext uri="{FF2B5EF4-FFF2-40B4-BE49-F238E27FC236}">
                <a16:creationId xmlns:a16="http://schemas.microsoft.com/office/drawing/2014/main" id="{42B9DFEA-5074-371E-4938-F97629A42D87}"/>
              </a:ext>
            </a:extLst>
          </p:cNvPr>
          <p:cNvSpPr txBox="1">
            <a:spLocks/>
          </p:cNvSpPr>
          <p:nvPr/>
        </p:nvSpPr>
        <p:spPr>
          <a:xfrm>
            <a:off x="4163783" y="10809953"/>
            <a:ext cx="1960922" cy="920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9</a:t>
            </a:r>
          </a:p>
        </p:txBody>
      </p:sp>
      <p:sp>
        <p:nvSpPr>
          <p:cNvPr id="62" name="Forma Livre: Forma 61">
            <a:extLst>
              <a:ext uri="{FF2B5EF4-FFF2-40B4-BE49-F238E27FC236}">
                <a16:creationId xmlns:a16="http://schemas.microsoft.com/office/drawing/2014/main" id="{3393A6D6-5A44-D9D9-50A1-39D592BE4787}"/>
              </a:ext>
            </a:extLst>
          </p:cNvPr>
          <p:cNvSpPr/>
          <p:nvPr/>
        </p:nvSpPr>
        <p:spPr>
          <a:xfrm>
            <a:off x="2951463" y="7106058"/>
            <a:ext cx="5001168" cy="1363424"/>
          </a:xfrm>
          <a:custGeom>
            <a:avLst/>
            <a:gdLst>
              <a:gd name="connsiteX0" fmla="*/ 2933632 w 3037161"/>
              <a:gd name="connsiteY0" fmla="*/ 0 h 786439"/>
              <a:gd name="connsiteX1" fmla="*/ 3037162 w 3037161"/>
              <a:gd name="connsiteY1" fmla="*/ 0 h 786439"/>
              <a:gd name="connsiteX2" fmla="*/ 3037162 w 3037161"/>
              <a:gd name="connsiteY2" fmla="*/ 786440 h 786439"/>
              <a:gd name="connsiteX3" fmla="*/ 2933632 w 3037161"/>
              <a:gd name="connsiteY3" fmla="*/ 786440 h 786439"/>
              <a:gd name="connsiteX4" fmla="*/ 103530 w 3037161"/>
              <a:gd name="connsiteY4" fmla="*/ 786440 h 786439"/>
              <a:gd name="connsiteX5" fmla="*/ 0 w 3037161"/>
              <a:gd name="connsiteY5" fmla="*/ 786440 h 786439"/>
              <a:gd name="connsiteX6" fmla="*/ 0 w 3037161"/>
              <a:gd name="connsiteY6" fmla="*/ 0 h 786439"/>
              <a:gd name="connsiteX7" fmla="*/ 103530 w 3037161"/>
              <a:gd name="connsiteY7" fmla="*/ 0 h 78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37161" h="786439">
                <a:moveTo>
                  <a:pt x="2933632" y="0"/>
                </a:moveTo>
                <a:cubicBezTo>
                  <a:pt x="2990809" y="0"/>
                  <a:pt x="3037162" y="0"/>
                  <a:pt x="3037162" y="0"/>
                </a:cubicBezTo>
                <a:lnTo>
                  <a:pt x="3037162" y="786440"/>
                </a:lnTo>
                <a:cubicBezTo>
                  <a:pt x="3037162" y="786440"/>
                  <a:pt x="2990809" y="786440"/>
                  <a:pt x="2933632" y="786440"/>
                </a:cubicBezTo>
                <a:lnTo>
                  <a:pt x="103530" y="786440"/>
                </a:lnTo>
                <a:cubicBezTo>
                  <a:pt x="46352" y="786440"/>
                  <a:pt x="0" y="786440"/>
                  <a:pt x="0" y="786440"/>
                </a:cubicBezTo>
                <a:lnTo>
                  <a:pt x="0" y="0"/>
                </a:lnTo>
                <a:cubicBezTo>
                  <a:pt x="0" y="0"/>
                  <a:pt x="46352" y="0"/>
                  <a:pt x="103530" y="0"/>
                </a:cubicBezTo>
                <a:close/>
              </a:path>
            </a:pathLst>
          </a:custGeom>
          <a:solidFill>
            <a:srgbClr val="0054B8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3" name="Forma Livre: Forma 62">
            <a:extLst>
              <a:ext uri="{FF2B5EF4-FFF2-40B4-BE49-F238E27FC236}">
                <a16:creationId xmlns:a16="http://schemas.microsoft.com/office/drawing/2014/main" id="{D860A1C8-14C4-AD18-FDEA-01E99C1FF988}"/>
              </a:ext>
            </a:extLst>
          </p:cNvPr>
          <p:cNvSpPr/>
          <p:nvPr/>
        </p:nvSpPr>
        <p:spPr>
          <a:xfrm>
            <a:off x="2687197" y="7106058"/>
            <a:ext cx="1363426" cy="1363424"/>
          </a:xfrm>
          <a:custGeom>
            <a:avLst/>
            <a:gdLst>
              <a:gd name="connsiteX0" fmla="*/ 90525 w 786439"/>
              <a:gd name="connsiteY0" fmla="*/ 0 h 786439"/>
              <a:gd name="connsiteX1" fmla="*/ 786440 w 786439"/>
              <a:gd name="connsiteY1" fmla="*/ 0 h 786439"/>
              <a:gd name="connsiteX2" fmla="*/ 786440 w 786439"/>
              <a:gd name="connsiteY2" fmla="*/ 0 h 786439"/>
              <a:gd name="connsiteX3" fmla="*/ 786440 w 786439"/>
              <a:gd name="connsiteY3" fmla="*/ 786440 h 786439"/>
              <a:gd name="connsiteX4" fmla="*/ 786440 w 786439"/>
              <a:gd name="connsiteY4" fmla="*/ 786440 h 786439"/>
              <a:gd name="connsiteX5" fmla="*/ 100237 w 786439"/>
              <a:gd name="connsiteY5" fmla="*/ 786440 h 786439"/>
              <a:gd name="connsiteX6" fmla="*/ 0 w 786439"/>
              <a:gd name="connsiteY6" fmla="*/ 686203 h 786439"/>
              <a:gd name="connsiteX7" fmla="*/ 0 w 786439"/>
              <a:gd name="connsiteY7" fmla="*/ 90525 h 786439"/>
              <a:gd name="connsiteX8" fmla="*/ 90525 w 786439"/>
              <a:gd name="connsiteY8" fmla="*/ 0 h 78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6439" h="786439">
                <a:moveTo>
                  <a:pt x="90525" y="0"/>
                </a:moveTo>
                <a:lnTo>
                  <a:pt x="786440" y="0"/>
                </a:lnTo>
                <a:lnTo>
                  <a:pt x="786440" y="0"/>
                </a:lnTo>
                <a:lnTo>
                  <a:pt x="786440" y="786440"/>
                </a:lnTo>
                <a:lnTo>
                  <a:pt x="786440" y="786440"/>
                </a:lnTo>
                <a:lnTo>
                  <a:pt x="100237" y="786440"/>
                </a:lnTo>
                <a:cubicBezTo>
                  <a:pt x="44874" y="786440"/>
                  <a:pt x="0" y="741562"/>
                  <a:pt x="0" y="686203"/>
                </a:cubicBezTo>
                <a:lnTo>
                  <a:pt x="0" y="90525"/>
                </a:lnTo>
                <a:cubicBezTo>
                  <a:pt x="0" y="40530"/>
                  <a:pt x="40534" y="0"/>
                  <a:pt x="90525" y="0"/>
                </a:cubicBezTo>
                <a:close/>
              </a:path>
            </a:pathLst>
          </a:custGeom>
          <a:solidFill>
            <a:srgbClr val="FFAD00"/>
          </a:solidFill>
          <a:ln w="8444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64" name="Espaço Reservado para Conteúdo 2">
            <a:extLst>
              <a:ext uri="{FF2B5EF4-FFF2-40B4-BE49-F238E27FC236}">
                <a16:creationId xmlns:a16="http://schemas.microsoft.com/office/drawing/2014/main" id="{A210457B-6129-1486-37C6-0784A1ED65F6}"/>
              </a:ext>
            </a:extLst>
          </p:cNvPr>
          <p:cNvSpPr txBox="1">
            <a:spLocks/>
          </p:cNvSpPr>
          <p:nvPr/>
        </p:nvSpPr>
        <p:spPr>
          <a:xfrm>
            <a:off x="5437321" y="7220974"/>
            <a:ext cx="2506833" cy="593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entros de Medicina Preventiva</a:t>
            </a:r>
          </a:p>
        </p:txBody>
      </p:sp>
      <p:sp>
        <p:nvSpPr>
          <p:cNvPr id="65" name="Espaço Reservado para Conteúdo 2">
            <a:extLst>
              <a:ext uri="{FF2B5EF4-FFF2-40B4-BE49-F238E27FC236}">
                <a16:creationId xmlns:a16="http://schemas.microsoft.com/office/drawing/2014/main" id="{029FA96F-5C0E-CC94-467C-40A9738F2116}"/>
              </a:ext>
            </a:extLst>
          </p:cNvPr>
          <p:cNvSpPr txBox="1">
            <a:spLocks/>
          </p:cNvSpPr>
          <p:nvPr/>
        </p:nvSpPr>
        <p:spPr>
          <a:xfrm>
            <a:off x="4171337" y="7315659"/>
            <a:ext cx="2035881" cy="9207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8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7</a:t>
            </a:r>
          </a:p>
        </p:txBody>
      </p:sp>
      <p:pic>
        <p:nvPicPr>
          <p:cNvPr id="66" name="Gráfico 65">
            <a:extLst>
              <a:ext uri="{FF2B5EF4-FFF2-40B4-BE49-F238E27FC236}">
                <a16:creationId xmlns:a16="http://schemas.microsoft.com/office/drawing/2014/main" id="{666750A3-B849-1529-9FE3-D4BC6D1608D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32268" y="7471308"/>
            <a:ext cx="834664" cy="659832"/>
          </a:xfrm>
          <a:prstGeom prst="rect">
            <a:avLst/>
          </a:prstGeom>
        </p:spPr>
      </p:pic>
      <p:sp>
        <p:nvSpPr>
          <p:cNvPr id="40" name="Forma Livre: Forma 39">
            <a:extLst>
              <a:ext uri="{FF2B5EF4-FFF2-40B4-BE49-F238E27FC236}">
                <a16:creationId xmlns:a16="http://schemas.microsoft.com/office/drawing/2014/main" id="{8099947F-A409-AC05-58C9-6B7720783CA4}"/>
              </a:ext>
            </a:extLst>
          </p:cNvPr>
          <p:cNvSpPr/>
          <p:nvPr/>
        </p:nvSpPr>
        <p:spPr>
          <a:xfrm>
            <a:off x="12922088" y="8060204"/>
            <a:ext cx="341714" cy="418032"/>
          </a:xfrm>
          <a:custGeom>
            <a:avLst/>
            <a:gdLst>
              <a:gd name="connsiteX0" fmla="*/ -1459 w 178610"/>
              <a:gd name="connsiteY0" fmla="*/ -1542 h 218501"/>
              <a:gd name="connsiteX1" fmla="*/ 58679 w 178610"/>
              <a:gd name="connsiteY1" fmla="*/ -1542 h 218501"/>
              <a:gd name="connsiteX2" fmla="*/ 107191 w 178610"/>
              <a:gd name="connsiteY2" fmla="*/ 95881 h 218501"/>
              <a:gd name="connsiteX3" fmla="*/ 127237 w 178610"/>
              <a:gd name="connsiteY3" fmla="*/ 144992 h 218501"/>
              <a:gd name="connsiteX4" fmla="*/ 128639 w 178610"/>
              <a:gd name="connsiteY4" fmla="*/ 144992 h 218501"/>
              <a:gd name="connsiteX5" fmla="*/ 126234 w 178610"/>
              <a:gd name="connsiteY5" fmla="*/ 124946 h 218501"/>
              <a:gd name="connsiteX6" fmla="*/ 124029 w 178610"/>
              <a:gd name="connsiteY6" fmla="*/ 103699 h 218501"/>
              <a:gd name="connsiteX7" fmla="*/ 122025 w 178610"/>
              <a:gd name="connsiteY7" fmla="*/ 81847 h 218501"/>
              <a:gd name="connsiteX8" fmla="*/ 122025 w 178610"/>
              <a:gd name="connsiteY8" fmla="*/ 61801 h 218501"/>
              <a:gd name="connsiteX9" fmla="*/ 122025 w 178610"/>
              <a:gd name="connsiteY9" fmla="*/ -1342 h 218501"/>
              <a:gd name="connsiteX10" fmla="*/ 177151 w 178610"/>
              <a:gd name="connsiteY10" fmla="*/ -1342 h 218501"/>
              <a:gd name="connsiteX11" fmla="*/ 177151 w 178610"/>
              <a:gd name="connsiteY11" fmla="*/ 216959 h 218501"/>
              <a:gd name="connsiteX12" fmla="*/ 118014 w 178610"/>
              <a:gd name="connsiteY12" fmla="*/ 216959 h 218501"/>
              <a:gd name="connsiteX13" fmla="*/ 69705 w 178610"/>
              <a:gd name="connsiteY13" fmla="*/ 119333 h 218501"/>
              <a:gd name="connsiteX14" fmla="*/ 49659 w 178610"/>
              <a:gd name="connsiteY14" fmla="*/ 70622 h 218501"/>
              <a:gd name="connsiteX15" fmla="*/ 48255 w 178610"/>
              <a:gd name="connsiteY15" fmla="*/ 70622 h 218501"/>
              <a:gd name="connsiteX16" fmla="*/ 53065 w 178610"/>
              <a:gd name="connsiteY16" fmla="*/ 110714 h 218501"/>
              <a:gd name="connsiteX17" fmla="*/ 55671 w 178610"/>
              <a:gd name="connsiteY17" fmla="*/ 153011 h 218501"/>
              <a:gd name="connsiteX18" fmla="*/ 55671 w 178610"/>
              <a:gd name="connsiteY18" fmla="*/ 216156 h 218501"/>
              <a:gd name="connsiteX19" fmla="*/ 545 w 178610"/>
              <a:gd name="connsiteY19" fmla="*/ 216156 h 21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8610" h="218501">
                <a:moveTo>
                  <a:pt x="-1459" y="-1542"/>
                </a:moveTo>
                <a:lnTo>
                  <a:pt x="58679" y="-1542"/>
                </a:lnTo>
                <a:lnTo>
                  <a:pt x="107191" y="95881"/>
                </a:lnTo>
                <a:lnTo>
                  <a:pt x="127237" y="144992"/>
                </a:lnTo>
                <a:lnTo>
                  <a:pt x="128639" y="144992"/>
                </a:lnTo>
                <a:cubicBezTo>
                  <a:pt x="128639" y="139180"/>
                  <a:pt x="127839" y="132564"/>
                  <a:pt x="126234" y="124946"/>
                </a:cubicBezTo>
                <a:cubicBezTo>
                  <a:pt x="126234" y="118131"/>
                  <a:pt x="124631" y="110915"/>
                  <a:pt x="124029" y="103699"/>
                </a:cubicBezTo>
                <a:cubicBezTo>
                  <a:pt x="123427" y="96482"/>
                  <a:pt x="122627" y="89066"/>
                  <a:pt x="122025" y="81847"/>
                </a:cubicBezTo>
                <a:cubicBezTo>
                  <a:pt x="121423" y="74631"/>
                  <a:pt x="122025" y="67615"/>
                  <a:pt x="122025" y="61801"/>
                </a:cubicBezTo>
                <a:lnTo>
                  <a:pt x="122025" y="-1342"/>
                </a:lnTo>
                <a:lnTo>
                  <a:pt x="177151" y="-1342"/>
                </a:lnTo>
                <a:lnTo>
                  <a:pt x="177151" y="216959"/>
                </a:lnTo>
                <a:lnTo>
                  <a:pt x="118014" y="216959"/>
                </a:lnTo>
                <a:lnTo>
                  <a:pt x="69705" y="119333"/>
                </a:lnTo>
                <a:lnTo>
                  <a:pt x="49659" y="70622"/>
                </a:lnTo>
                <a:lnTo>
                  <a:pt x="48255" y="70622"/>
                </a:lnTo>
                <a:cubicBezTo>
                  <a:pt x="49659" y="83051"/>
                  <a:pt x="51262" y="96881"/>
                  <a:pt x="53065" y="110714"/>
                </a:cubicBezTo>
                <a:cubicBezTo>
                  <a:pt x="54871" y="124746"/>
                  <a:pt x="55671" y="138779"/>
                  <a:pt x="55671" y="153011"/>
                </a:cubicBezTo>
                <a:lnTo>
                  <a:pt x="55671" y="216156"/>
                </a:lnTo>
                <a:lnTo>
                  <a:pt x="545" y="216156"/>
                </a:ln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1" name="Forma Livre: Forma 40">
            <a:extLst>
              <a:ext uri="{FF2B5EF4-FFF2-40B4-BE49-F238E27FC236}">
                <a16:creationId xmlns:a16="http://schemas.microsoft.com/office/drawing/2014/main" id="{67ADE41C-1F68-AC34-52A7-9623F25D691C}"/>
              </a:ext>
            </a:extLst>
          </p:cNvPr>
          <p:cNvSpPr/>
          <p:nvPr/>
        </p:nvSpPr>
        <p:spPr>
          <a:xfrm>
            <a:off x="13337034" y="8052628"/>
            <a:ext cx="385472" cy="432915"/>
          </a:xfrm>
          <a:custGeom>
            <a:avLst/>
            <a:gdLst>
              <a:gd name="connsiteX0" fmla="*/ 99381 w 201482"/>
              <a:gd name="connsiteY0" fmla="*/ 224727 h 226280"/>
              <a:gd name="connsiteX1" fmla="*/ 57887 w 201482"/>
              <a:gd name="connsiteY1" fmla="*/ 217109 h 226280"/>
              <a:gd name="connsiteX2" fmla="*/ 26015 w 201482"/>
              <a:gd name="connsiteY2" fmla="*/ 194658 h 226280"/>
              <a:gd name="connsiteX3" fmla="*/ 5969 w 201482"/>
              <a:gd name="connsiteY3" fmla="*/ 158775 h 226280"/>
              <a:gd name="connsiteX4" fmla="*/ -1448 w 201482"/>
              <a:gd name="connsiteY4" fmla="*/ 110667 h 226280"/>
              <a:gd name="connsiteX5" fmla="*/ 5969 w 201482"/>
              <a:gd name="connsiteY5" fmla="*/ 62757 h 226280"/>
              <a:gd name="connsiteX6" fmla="*/ 26015 w 201482"/>
              <a:gd name="connsiteY6" fmla="*/ 27475 h 226280"/>
              <a:gd name="connsiteX7" fmla="*/ 57887 w 201482"/>
              <a:gd name="connsiteY7" fmla="*/ 5824 h 226280"/>
              <a:gd name="connsiteX8" fmla="*/ 140677 w 201482"/>
              <a:gd name="connsiteY8" fmla="*/ 5824 h 226280"/>
              <a:gd name="connsiteX9" fmla="*/ 172750 w 201482"/>
              <a:gd name="connsiteY9" fmla="*/ 27676 h 226280"/>
              <a:gd name="connsiteX10" fmla="*/ 192796 w 201482"/>
              <a:gd name="connsiteY10" fmla="*/ 62957 h 226280"/>
              <a:gd name="connsiteX11" fmla="*/ 200012 w 201482"/>
              <a:gd name="connsiteY11" fmla="*/ 110667 h 226280"/>
              <a:gd name="connsiteX12" fmla="*/ 192796 w 201482"/>
              <a:gd name="connsiteY12" fmla="*/ 158775 h 226280"/>
              <a:gd name="connsiteX13" fmla="*/ 172750 w 201482"/>
              <a:gd name="connsiteY13" fmla="*/ 194658 h 226280"/>
              <a:gd name="connsiteX14" fmla="*/ 140677 w 201482"/>
              <a:gd name="connsiteY14" fmla="*/ 217109 h 226280"/>
              <a:gd name="connsiteX15" fmla="*/ 99381 w 201482"/>
              <a:gd name="connsiteY15" fmla="*/ 224727 h 226280"/>
              <a:gd name="connsiteX16" fmla="*/ 99381 w 201482"/>
              <a:gd name="connsiteY16" fmla="*/ 175214 h 226280"/>
              <a:gd name="connsiteX17" fmla="*/ 130453 w 201482"/>
              <a:gd name="connsiteY17" fmla="*/ 157774 h 226280"/>
              <a:gd name="connsiteX18" fmla="*/ 141878 w 201482"/>
              <a:gd name="connsiteY18" fmla="*/ 110667 h 226280"/>
              <a:gd name="connsiteX19" fmla="*/ 130453 w 201482"/>
              <a:gd name="connsiteY19" fmla="*/ 64359 h 226280"/>
              <a:gd name="connsiteX20" fmla="*/ 77732 w 201482"/>
              <a:gd name="connsiteY20" fmla="*/ 54938 h 226280"/>
              <a:gd name="connsiteX21" fmla="*/ 68311 w 201482"/>
              <a:gd name="connsiteY21" fmla="*/ 64359 h 226280"/>
              <a:gd name="connsiteX22" fmla="*/ 57084 w 201482"/>
              <a:gd name="connsiteY22" fmla="*/ 110667 h 226280"/>
              <a:gd name="connsiteX23" fmla="*/ 68311 w 201482"/>
              <a:gd name="connsiteY23" fmla="*/ 157774 h 226280"/>
              <a:gd name="connsiteX24" fmla="*/ 99381 w 201482"/>
              <a:gd name="connsiteY24" fmla="*/ 175214 h 226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01482" h="226280">
                <a:moveTo>
                  <a:pt x="99381" y="224727"/>
                </a:moveTo>
                <a:cubicBezTo>
                  <a:pt x="85149" y="224928"/>
                  <a:pt x="71118" y="222321"/>
                  <a:pt x="57887" y="217109"/>
                </a:cubicBezTo>
                <a:cubicBezTo>
                  <a:pt x="45659" y="212098"/>
                  <a:pt x="34834" y="204480"/>
                  <a:pt x="26015" y="194658"/>
                </a:cubicBezTo>
                <a:cubicBezTo>
                  <a:pt x="16992" y="184234"/>
                  <a:pt x="10178" y="172006"/>
                  <a:pt x="5969" y="158775"/>
                </a:cubicBezTo>
                <a:cubicBezTo>
                  <a:pt x="957" y="143339"/>
                  <a:pt x="-1649" y="126903"/>
                  <a:pt x="-1448" y="110667"/>
                </a:cubicBezTo>
                <a:cubicBezTo>
                  <a:pt x="-1649" y="94428"/>
                  <a:pt x="957" y="78190"/>
                  <a:pt x="5969" y="62757"/>
                </a:cubicBezTo>
                <a:cubicBezTo>
                  <a:pt x="10178" y="49726"/>
                  <a:pt x="16992" y="37699"/>
                  <a:pt x="26015" y="27475"/>
                </a:cubicBezTo>
                <a:cubicBezTo>
                  <a:pt x="34834" y="18052"/>
                  <a:pt x="45860" y="10635"/>
                  <a:pt x="57887" y="5824"/>
                </a:cubicBezTo>
                <a:cubicBezTo>
                  <a:pt x="84547" y="-3998"/>
                  <a:pt x="114017" y="-3998"/>
                  <a:pt x="140677" y="5824"/>
                </a:cubicBezTo>
                <a:cubicBezTo>
                  <a:pt x="152905" y="10635"/>
                  <a:pt x="163931" y="18052"/>
                  <a:pt x="172750" y="27676"/>
                </a:cubicBezTo>
                <a:cubicBezTo>
                  <a:pt x="181770" y="37900"/>
                  <a:pt x="188587" y="49927"/>
                  <a:pt x="192796" y="62957"/>
                </a:cubicBezTo>
                <a:cubicBezTo>
                  <a:pt x="197807" y="78390"/>
                  <a:pt x="200213" y="94428"/>
                  <a:pt x="200012" y="110667"/>
                </a:cubicBezTo>
                <a:cubicBezTo>
                  <a:pt x="200213" y="126903"/>
                  <a:pt x="197807" y="143141"/>
                  <a:pt x="192796" y="158775"/>
                </a:cubicBezTo>
                <a:cubicBezTo>
                  <a:pt x="188587" y="172006"/>
                  <a:pt x="181770" y="184234"/>
                  <a:pt x="172750" y="194658"/>
                </a:cubicBezTo>
                <a:cubicBezTo>
                  <a:pt x="163931" y="204480"/>
                  <a:pt x="152905" y="212098"/>
                  <a:pt x="140677" y="217109"/>
                </a:cubicBezTo>
                <a:cubicBezTo>
                  <a:pt x="127646" y="222321"/>
                  <a:pt x="113615" y="224928"/>
                  <a:pt x="99381" y="224727"/>
                </a:cubicBezTo>
                <a:close/>
                <a:moveTo>
                  <a:pt x="99381" y="175214"/>
                </a:moveTo>
                <a:cubicBezTo>
                  <a:pt x="112211" y="175415"/>
                  <a:pt x="124040" y="168798"/>
                  <a:pt x="130453" y="157774"/>
                </a:cubicBezTo>
                <a:cubicBezTo>
                  <a:pt x="138873" y="143540"/>
                  <a:pt x="142681" y="127103"/>
                  <a:pt x="141878" y="110667"/>
                </a:cubicBezTo>
                <a:cubicBezTo>
                  <a:pt x="142882" y="94428"/>
                  <a:pt x="138873" y="78190"/>
                  <a:pt x="130453" y="64359"/>
                </a:cubicBezTo>
                <a:cubicBezTo>
                  <a:pt x="118426" y="47120"/>
                  <a:pt x="94771" y="42911"/>
                  <a:pt x="77732" y="54938"/>
                </a:cubicBezTo>
                <a:cubicBezTo>
                  <a:pt x="74123" y="57544"/>
                  <a:pt x="70917" y="60750"/>
                  <a:pt x="68311" y="64359"/>
                </a:cubicBezTo>
                <a:cubicBezTo>
                  <a:pt x="60092" y="78390"/>
                  <a:pt x="56084" y="94428"/>
                  <a:pt x="57084" y="110667"/>
                </a:cubicBezTo>
                <a:cubicBezTo>
                  <a:pt x="56284" y="127103"/>
                  <a:pt x="60092" y="143540"/>
                  <a:pt x="68311" y="157774"/>
                </a:cubicBezTo>
                <a:cubicBezTo>
                  <a:pt x="74725" y="168798"/>
                  <a:pt x="86551" y="175415"/>
                  <a:pt x="99381" y="175214"/>
                </a:cubicBez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2" name="Forma Livre: Forma 41">
            <a:extLst>
              <a:ext uri="{FF2B5EF4-FFF2-40B4-BE49-F238E27FC236}">
                <a16:creationId xmlns:a16="http://schemas.microsoft.com/office/drawing/2014/main" id="{7650FCE3-C0A1-A090-BAB7-DF9EBF381A4B}"/>
              </a:ext>
            </a:extLst>
          </p:cNvPr>
          <p:cNvSpPr/>
          <p:nvPr/>
        </p:nvSpPr>
        <p:spPr>
          <a:xfrm>
            <a:off x="13770808" y="8051738"/>
            <a:ext cx="321114" cy="433784"/>
          </a:xfrm>
          <a:custGeom>
            <a:avLst/>
            <a:gdLst>
              <a:gd name="connsiteX0" fmla="*/ 81531 w 167843"/>
              <a:gd name="connsiteY0" fmla="*/ 225192 h 226734"/>
              <a:gd name="connsiteX1" fmla="*/ 38633 w 167843"/>
              <a:gd name="connsiteY1" fmla="*/ 217775 h 226734"/>
              <a:gd name="connsiteX2" fmla="*/ -1459 w 167843"/>
              <a:gd name="connsiteY2" fmla="*/ 194120 h 226734"/>
              <a:gd name="connsiteX3" fmla="*/ 31417 w 167843"/>
              <a:gd name="connsiteY3" fmla="*/ 154028 h 226734"/>
              <a:gd name="connsiteX4" fmla="*/ 56675 w 167843"/>
              <a:gd name="connsiteY4" fmla="*/ 169263 h 226734"/>
              <a:gd name="connsiteX5" fmla="*/ 82535 w 167843"/>
              <a:gd name="connsiteY5" fmla="*/ 175278 h 226734"/>
              <a:gd name="connsiteX6" fmla="*/ 101377 w 167843"/>
              <a:gd name="connsiteY6" fmla="*/ 171069 h 226734"/>
              <a:gd name="connsiteX7" fmla="*/ 107191 w 167843"/>
              <a:gd name="connsiteY7" fmla="*/ 159641 h 226734"/>
              <a:gd name="connsiteX8" fmla="*/ 105187 w 167843"/>
              <a:gd name="connsiteY8" fmla="*/ 153027 h 226734"/>
              <a:gd name="connsiteX9" fmla="*/ 99373 w 167843"/>
              <a:gd name="connsiteY9" fmla="*/ 148015 h 226734"/>
              <a:gd name="connsiteX10" fmla="*/ 90152 w 167843"/>
              <a:gd name="connsiteY10" fmla="*/ 143405 h 226734"/>
              <a:gd name="connsiteX11" fmla="*/ 77724 w 167843"/>
              <a:gd name="connsiteY11" fmla="*/ 138594 h 226734"/>
              <a:gd name="connsiteX12" fmla="*/ 50459 w 167843"/>
              <a:gd name="connsiteY12" fmla="*/ 127167 h 226734"/>
              <a:gd name="connsiteX13" fmla="*/ 33822 w 167843"/>
              <a:gd name="connsiteY13" fmla="*/ 118348 h 226734"/>
              <a:gd name="connsiteX14" fmla="*/ 19590 w 167843"/>
              <a:gd name="connsiteY14" fmla="*/ 105117 h 226734"/>
              <a:gd name="connsiteX15" fmla="*/ 9969 w 167843"/>
              <a:gd name="connsiteY15" fmla="*/ 87878 h 226734"/>
              <a:gd name="connsiteX16" fmla="*/ 6560 w 167843"/>
              <a:gd name="connsiteY16" fmla="*/ 66427 h 226734"/>
              <a:gd name="connsiteX17" fmla="*/ 12575 w 167843"/>
              <a:gd name="connsiteY17" fmla="*/ 39967 h 226734"/>
              <a:gd name="connsiteX18" fmla="*/ 29413 w 167843"/>
              <a:gd name="connsiteY18" fmla="*/ 18517 h 226734"/>
              <a:gd name="connsiteX19" fmla="*/ 55072 w 167843"/>
              <a:gd name="connsiteY19" fmla="*/ 3884 h 226734"/>
              <a:gd name="connsiteX20" fmla="*/ 87747 w 167843"/>
              <a:gd name="connsiteY20" fmla="*/ -1529 h 226734"/>
              <a:gd name="connsiteX21" fmla="*/ 126033 w 167843"/>
              <a:gd name="connsiteY21" fmla="*/ 5489 h 226734"/>
              <a:gd name="connsiteX22" fmla="*/ 160313 w 167843"/>
              <a:gd name="connsiteY22" fmla="*/ 27740 h 226734"/>
              <a:gd name="connsiteX23" fmla="*/ 131446 w 167843"/>
              <a:gd name="connsiteY23" fmla="*/ 64022 h 226734"/>
              <a:gd name="connsiteX24" fmla="*/ 110198 w 167843"/>
              <a:gd name="connsiteY24" fmla="*/ 52195 h 226734"/>
              <a:gd name="connsiteX25" fmla="*/ 87747 w 167843"/>
              <a:gd name="connsiteY25" fmla="*/ 48187 h 226734"/>
              <a:gd name="connsiteX26" fmla="*/ 71107 w 167843"/>
              <a:gd name="connsiteY26" fmla="*/ 51995 h 226734"/>
              <a:gd name="connsiteX27" fmla="*/ 64894 w 167843"/>
              <a:gd name="connsiteY27" fmla="*/ 63021 h 226734"/>
              <a:gd name="connsiteX28" fmla="*/ 73513 w 167843"/>
              <a:gd name="connsiteY28" fmla="*/ 74847 h 226734"/>
              <a:gd name="connsiteX29" fmla="*/ 97168 w 167843"/>
              <a:gd name="connsiteY29" fmla="*/ 84870 h 226734"/>
              <a:gd name="connsiteX30" fmla="*/ 123828 w 167843"/>
              <a:gd name="connsiteY30" fmla="*/ 95294 h 226734"/>
              <a:gd name="connsiteX31" fmla="*/ 155302 w 167843"/>
              <a:gd name="connsiteY31" fmla="*/ 117746 h 226734"/>
              <a:gd name="connsiteX32" fmla="*/ 166325 w 167843"/>
              <a:gd name="connsiteY32" fmla="*/ 155031 h 226734"/>
              <a:gd name="connsiteX33" fmla="*/ 160712 w 167843"/>
              <a:gd name="connsiteY33" fmla="*/ 181491 h 226734"/>
              <a:gd name="connsiteX34" fmla="*/ 144075 w 167843"/>
              <a:gd name="connsiteY34" fmla="*/ 203942 h 226734"/>
              <a:gd name="connsiteX35" fmla="*/ 117415 w 167843"/>
              <a:gd name="connsiteY35" fmla="*/ 219177 h 226734"/>
              <a:gd name="connsiteX36" fmla="*/ 81531 w 167843"/>
              <a:gd name="connsiteY36" fmla="*/ 225192 h 226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67843" h="226734">
                <a:moveTo>
                  <a:pt x="81531" y="225192"/>
                </a:moveTo>
                <a:cubicBezTo>
                  <a:pt x="66898" y="225192"/>
                  <a:pt x="52466" y="222586"/>
                  <a:pt x="38633" y="217775"/>
                </a:cubicBezTo>
                <a:cubicBezTo>
                  <a:pt x="23799" y="212763"/>
                  <a:pt x="10167" y="204745"/>
                  <a:pt x="-1459" y="194120"/>
                </a:cubicBezTo>
                <a:lnTo>
                  <a:pt x="31417" y="154028"/>
                </a:lnTo>
                <a:cubicBezTo>
                  <a:pt x="39034" y="160243"/>
                  <a:pt x="47655" y="165455"/>
                  <a:pt x="56675" y="169263"/>
                </a:cubicBezTo>
                <a:cubicBezTo>
                  <a:pt x="64694" y="173073"/>
                  <a:pt x="73513" y="175077"/>
                  <a:pt x="82535" y="175278"/>
                </a:cubicBezTo>
                <a:cubicBezTo>
                  <a:pt x="89149" y="175880"/>
                  <a:pt x="95763" y="174274"/>
                  <a:pt x="101377" y="171069"/>
                </a:cubicBezTo>
                <a:cubicBezTo>
                  <a:pt x="105187" y="168663"/>
                  <a:pt x="107392" y="164251"/>
                  <a:pt x="107191" y="159641"/>
                </a:cubicBezTo>
                <a:cubicBezTo>
                  <a:pt x="107392" y="157236"/>
                  <a:pt x="106589" y="155031"/>
                  <a:pt x="105187" y="153027"/>
                </a:cubicBezTo>
                <a:cubicBezTo>
                  <a:pt x="103582" y="151023"/>
                  <a:pt x="101577" y="149217"/>
                  <a:pt x="99373" y="148015"/>
                </a:cubicBezTo>
                <a:cubicBezTo>
                  <a:pt x="96365" y="146212"/>
                  <a:pt x="93358" y="144607"/>
                  <a:pt x="90152" y="143405"/>
                </a:cubicBezTo>
                <a:lnTo>
                  <a:pt x="77724" y="138594"/>
                </a:lnTo>
                <a:lnTo>
                  <a:pt x="50459" y="127167"/>
                </a:lnTo>
                <a:cubicBezTo>
                  <a:pt x="44648" y="124962"/>
                  <a:pt x="39034" y="121955"/>
                  <a:pt x="33822" y="118348"/>
                </a:cubicBezTo>
                <a:cubicBezTo>
                  <a:pt x="28409" y="114538"/>
                  <a:pt x="23598" y="110128"/>
                  <a:pt x="19590" y="105117"/>
                </a:cubicBezTo>
                <a:cubicBezTo>
                  <a:pt x="15580" y="99905"/>
                  <a:pt x="12173" y="94091"/>
                  <a:pt x="9969" y="87878"/>
                </a:cubicBezTo>
                <a:cubicBezTo>
                  <a:pt x="7761" y="81063"/>
                  <a:pt x="6560" y="73643"/>
                  <a:pt x="6560" y="66427"/>
                </a:cubicBezTo>
                <a:cubicBezTo>
                  <a:pt x="6560" y="57207"/>
                  <a:pt x="8564" y="48187"/>
                  <a:pt x="12575" y="39967"/>
                </a:cubicBezTo>
                <a:cubicBezTo>
                  <a:pt x="16583" y="31748"/>
                  <a:pt x="22397" y="24331"/>
                  <a:pt x="29413" y="18517"/>
                </a:cubicBezTo>
                <a:cubicBezTo>
                  <a:pt x="37030" y="12103"/>
                  <a:pt x="45648" y="7092"/>
                  <a:pt x="55072" y="3884"/>
                </a:cubicBezTo>
                <a:cubicBezTo>
                  <a:pt x="65494" y="277"/>
                  <a:pt x="76721" y="-1727"/>
                  <a:pt x="87747" y="-1529"/>
                </a:cubicBezTo>
                <a:cubicBezTo>
                  <a:pt x="100775" y="-1328"/>
                  <a:pt x="113805" y="879"/>
                  <a:pt x="126033" y="5489"/>
                </a:cubicBezTo>
                <a:cubicBezTo>
                  <a:pt x="138863" y="10300"/>
                  <a:pt x="150689" y="17917"/>
                  <a:pt x="160313" y="27740"/>
                </a:cubicBezTo>
                <a:lnTo>
                  <a:pt x="131446" y="64022"/>
                </a:lnTo>
                <a:cubicBezTo>
                  <a:pt x="124831" y="59211"/>
                  <a:pt x="117615" y="55403"/>
                  <a:pt x="110198" y="52195"/>
                </a:cubicBezTo>
                <a:cubicBezTo>
                  <a:pt x="102980" y="49388"/>
                  <a:pt x="95362" y="48187"/>
                  <a:pt x="87747" y="48187"/>
                </a:cubicBezTo>
                <a:cubicBezTo>
                  <a:pt x="81933" y="47786"/>
                  <a:pt x="76119" y="49188"/>
                  <a:pt x="71107" y="51995"/>
                </a:cubicBezTo>
                <a:cubicBezTo>
                  <a:pt x="67099" y="54199"/>
                  <a:pt x="64694" y="58411"/>
                  <a:pt x="64894" y="63021"/>
                </a:cubicBezTo>
                <a:cubicBezTo>
                  <a:pt x="65095" y="68434"/>
                  <a:pt x="68501" y="73044"/>
                  <a:pt x="73513" y="74847"/>
                </a:cubicBezTo>
                <a:cubicBezTo>
                  <a:pt x="79327" y="77654"/>
                  <a:pt x="87145" y="81063"/>
                  <a:pt x="97168" y="84870"/>
                </a:cubicBezTo>
                <a:lnTo>
                  <a:pt x="123828" y="95294"/>
                </a:lnTo>
                <a:cubicBezTo>
                  <a:pt x="136257" y="99704"/>
                  <a:pt x="147082" y="107522"/>
                  <a:pt x="155302" y="117746"/>
                </a:cubicBezTo>
                <a:cubicBezTo>
                  <a:pt x="162919" y="128571"/>
                  <a:pt x="166927" y="141800"/>
                  <a:pt x="166325" y="155031"/>
                </a:cubicBezTo>
                <a:cubicBezTo>
                  <a:pt x="166325" y="164251"/>
                  <a:pt x="164522" y="173273"/>
                  <a:pt x="160712" y="181491"/>
                </a:cubicBezTo>
                <a:cubicBezTo>
                  <a:pt x="156904" y="190111"/>
                  <a:pt x="151090" y="197729"/>
                  <a:pt x="144075" y="203942"/>
                </a:cubicBezTo>
                <a:cubicBezTo>
                  <a:pt x="136257" y="210559"/>
                  <a:pt x="127237" y="215771"/>
                  <a:pt x="117415" y="219177"/>
                </a:cubicBezTo>
                <a:cubicBezTo>
                  <a:pt x="105786" y="223188"/>
                  <a:pt x="93759" y="225192"/>
                  <a:pt x="81531" y="225192"/>
                </a:cubicBez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3" name="Forma Livre: Forma 42">
            <a:extLst>
              <a:ext uri="{FF2B5EF4-FFF2-40B4-BE49-F238E27FC236}">
                <a16:creationId xmlns:a16="http://schemas.microsoft.com/office/drawing/2014/main" id="{440B0E47-BB2B-9CAA-42E8-93AD85214B54}"/>
              </a:ext>
            </a:extLst>
          </p:cNvPr>
          <p:cNvSpPr/>
          <p:nvPr/>
        </p:nvSpPr>
        <p:spPr>
          <a:xfrm>
            <a:off x="14122110" y="8051738"/>
            <a:ext cx="323414" cy="433808"/>
          </a:xfrm>
          <a:custGeom>
            <a:avLst/>
            <a:gdLst>
              <a:gd name="connsiteX0" fmla="*/ 81331 w 169045"/>
              <a:gd name="connsiteY0" fmla="*/ 225192 h 226747"/>
              <a:gd name="connsiteX1" fmla="*/ 38633 w 169045"/>
              <a:gd name="connsiteY1" fmla="*/ 217775 h 226747"/>
              <a:gd name="connsiteX2" fmla="*/ -1459 w 169045"/>
              <a:gd name="connsiteY2" fmla="*/ 194120 h 226747"/>
              <a:gd name="connsiteX3" fmla="*/ 31417 w 169045"/>
              <a:gd name="connsiteY3" fmla="*/ 154028 h 226747"/>
              <a:gd name="connsiteX4" fmla="*/ 56875 w 169045"/>
              <a:gd name="connsiteY4" fmla="*/ 169263 h 226747"/>
              <a:gd name="connsiteX5" fmla="*/ 82532 w 169045"/>
              <a:gd name="connsiteY5" fmla="*/ 175278 h 226747"/>
              <a:gd name="connsiteX6" fmla="*/ 102578 w 169045"/>
              <a:gd name="connsiteY6" fmla="*/ 171069 h 226747"/>
              <a:gd name="connsiteX7" fmla="*/ 108392 w 169045"/>
              <a:gd name="connsiteY7" fmla="*/ 159641 h 226747"/>
              <a:gd name="connsiteX8" fmla="*/ 106388 w 169045"/>
              <a:gd name="connsiteY8" fmla="*/ 153027 h 226747"/>
              <a:gd name="connsiteX9" fmla="*/ 100574 w 169045"/>
              <a:gd name="connsiteY9" fmla="*/ 148015 h 226747"/>
              <a:gd name="connsiteX10" fmla="*/ 91354 w 169045"/>
              <a:gd name="connsiteY10" fmla="*/ 143405 h 226747"/>
              <a:gd name="connsiteX11" fmla="*/ 78925 w 169045"/>
              <a:gd name="connsiteY11" fmla="*/ 138594 h 226747"/>
              <a:gd name="connsiteX12" fmla="*/ 51663 w 169045"/>
              <a:gd name="connsiteY12" fmla="*/ 127167 h 226747"/>
              <a:gd name="connsiteX13" fmla="*/ 34823 w 169045"/>
              <a:gd name="connsiteY13" fmla="*/ 118348 h 226747"/>
              <a:gd name="connsiteX14" fmla="*/ 20792 w 169045"/>
              <a:gd name="connsiteY14" fmla="*/ 105117 h 226747"/>
              <a:gd name="connsiteX15" fmla="*/ 11170 w 169045"/>
              <a:gd name="connsiteY15" fmla="*/ 87878 h 226747"/>
              <a:gd name="connsiteX16" fmla="*/ 7561 w 169045"/>
              <a:gd name="connsiteY16" fmla="*/ 66427 h 226747"/>
              <a:gd name="connsiteX17" fmla="*/ 13575 w 169045"/>
              <a:gd name="connsiteY17" fmla="*/ 39967 h 226747"/>
              <a:gd name="connsiteX18" fmla="*/ 30413 w 169045"/>
              <a:gd name="connsiteY18" fmla="*/ 18517 h 226747"/>
              <a:gd name="connsiteX19" fmla="*/ 56073 w 169045"/>
              <a:gd name="connsiteY19" fmla="*/ 3884 h 226747"/>
              <a:gd name="connsiteX20" fmla="*/ 88948 w 169045"/>
              <a:gd name="connsiteY20" fmla="*/ -1529 h 226747"/>
              <a:gd name="connsiteX21" fmla="*/ 127036 w 169045"/>
              <a:gd name="connsiteY21" fmla="*/ 5489 h 226747"/>
              <a:gd name="connsiteX22" fmla="*/ 161515 w 169045"/>
              <a:gd name="connsiteY22" fmla="*/ 27740 h 226747"/>
              <a:gd name="connsiteX23" fmla="*/ 132647 w 169045"/>
              <a:gd name="connsiteY23" fmla="*/ 64022 h 226747"/>
              <a:gd name="connsiteX24" fmla="*/ 111199 w 169045"/>
              <a:gd name="connsiteY24" fmla="*/ 52195 h 226747"/>
              <a:gd name="connsiteX25" fmla="*/ 88948 w 169045"/>
              <a:gd name="connsiteY25" fmla="*/ 48187 h 226747"/>
              <a:gd name="connsiteX26" fmla="*/ 72108 w 169045"/>
              <a:gd name="connsiteY26" fmla="*/ 51995 h 226747"/>
              <a:gd name="connsiteX27" fmla="*/ 66096 w 169045"/>
              <a:gd name="connsiteY27" fmla="*/ 63021 h 226747"/>
              <a:gd name="connsiteX28" fmla="*/ 74714 w 169045"/>
              <a:gd name="connsiteY28" fmla="*/ 74847 h 226747"/>
              <a:gd name="connsiteX29" fmla="*/ 98369 w 169045"/>
              <a:gd name="connsiteY29" fmla="*/ 84870 h 226747"/>
              <a:gd name="connsiteX30" fmla="*/ 124829 w 169045"/>
              <a:gd name="connsiteY30" fmla="*/ 95294 h 226747"/>
              <a:gd name="connsiteX31" fmla="*/ 156503 w 169045"/>
              <a:gd name="connsiteY31" fmla="*/ 117746 h 226747"/>
              <a:gd name="connsiteX32" fmla="*/ 167527 w 169045"/>
              <a:gd name="connsiteY32" fmla="*/ 155031 h 226747"/>
              <a:gd name="connsiteX33" fmla="*/ 161715 w 169045"/>
              <a:gd name="connsiteY33" fmla="*/ 181491 h 226747"/>
              <a:gd name="connsiteX34" fmla="*/ 145076 w 169045"/>
              <a:gd name="connsiteY34" fmla="*/ 203942 h 226747"/>
              <a:gd name="connsiteX35" fmla="*/ 118415 w 169045"/>
              <a:gd name="connsiteY35" fmla="*/ 219177 h 226747"/>
              <a:gd name="connsiteX36" fmla="*/ 81331 w 169045"/>
              <a:gd name="connsiteY36" fmla="*/ 225192 h 226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169045" h="226747">
                <a:moveTo>
                  <a:pt x="81331" y="225192"/>
                </a:moveTo>
                <a:cubicBezTo>
                  <a:pt x="66698" y="225192"/>
                  <a:pt x="52263" y="222586"/>
                  <a:pt x="38633" y="217775"/>
                </a:cubicBezTo>
                <a:cubicBezTo>
                  <a:pt x="23799" y="212763"/>
                  <a:pt x="10167" y="204745"/>
                  <a:pt x="-1459" y="194120"/>
                </a:cubicBezTo>
                <a:lnTo>
                  <a:pt x="31417" y="154028"/>
                </a:lnTo>
                <a:cubicBezTo>
                  <a:pt x="39235" y="160243"/>
                  <a:pt x="47653" y="165455"/>
                  <a:pt x="56875" y="169263"/>
                </a:cubicBezTo>
                <a:cubicBezTo>
                  <a:pt x="64892" y="173073"/>
                  <a:pt x="73713" y="175077"/>
                  <a:pt x="82532" y="175278"/>
                </a:cubicBezTo>
                <a:cubicBezTo>
                  <a:pt x="89550" y="176080"/>
                  <a:pt x="96566" y="174475"/>
                  <a:pt x="102578" y="171069"/>
                </a:cubicBezTo>
                <a:cubicBezTo>
                  <a:pt x="106388" y="168463"/>
                  <a:pt x="108593" y="164251"/>
                  <a:pt x="108392" y="159641"/>
                </a:cubicBezTo>
                <a:cubicBezTo>
                  <a:pt x="108593" y="157236"/>
                  <a:pt x="107790" y="155031"/>
                  <a:pt x="106388" y="153027"/>
                </a:cubicBezTo>
                <a:cubicBezTo>
                  <a:pt x="104783" y="151023"/>
                  <a:pt x="102779" y="149418"/>
                  <a:pt x="100574" y="148015"/>
                </a:cubicBezTo>
                <a:cubicBezTo>
                  <a:pt x="97567" y="146212"/>
                  <a:pt x="94562" y="144607"/>
                  <a:pt x="91354" y="143405"/>
                </a:cubicBezTo>
                <a:lnTo>
                  <a:pt x="78925" y="138594"/>
                </a:lnTo>
                <a:lnTo>
                  <a:pt x="51663" y="127167"/>
                </a:lnTo>
                <a:cubicBezTo>
                  <a:pt x="45648" y="124962"/>
                  <a:pt x="40035" y="121955"/>
                  <a:pt x="34823" y="118348"/>
                </a:cubicBezTo>
                <a:cubicBezTo>
                  <a:pt x="29611" y="114538"/>
                  <a:pt x="24800" y="110128"/>
                  <a:pt x="20792" y="105117"/>
                </a:cubicBezTo>
                <a:cubicBezTo>
                  <a:pt x="16783" y="99905"/>
                  <a:pt x="13375" y="94091"/>
                  <a:pt x="11170" y="87878"/>
                </a:cubicBezTo>
                <a:cubicBezTo>
                  <a:pt x="8765" y="81063"/>
                  <a:pt x="7561" y="73643"/>
                  <a:pt x="7561" y="66427"/>
                </a:cubicBezTo>
                <a:cubicBezTo>
                  <a:pt x="7561" y="57207"/>
                  <a:pt x="9565" y="48187"/>
                  <a:pt x="13575" y="39967"/>
                </a:cubicBezTo>
                <a:cubicBezTo>
                  <a:pt x="17784" y="31748"/>
                  <a:pt x="23398" y="24532"/>
                  <a:pt x="30413" y="18517"/>
                </a:cubicBezTo>
                <a:cubicBezTo>
                  <a:pt x="38031" y="12103"/>
                  <a:pt x="46652" y="7092"/>
                  <a:pt x="56073" y="3884"/>
                </a:cubicBezTo>
                <a:cubicBezTo>
                  <a:pt x="66698" y="277"/>
                  <a:pt x="77721" y="-1727"/>
                  <a:pt x="88948" y="-1529"/>
                </a:cubicBezTo>
                <a:cubicBezTo>
                  <a:pt x="101979" y="-1328"/>
                  <a:pt x="114806" y="879"/>
                  <a:pt x="127036" y="5489"/>
                </a:cubicBezTo>
                <a:cubicBezTo>
                  <a:pt x="140064" y="10300"/>
                  <a:pt x="151692" y="17917"/>
                  <a:pt x="161515" y="27740"/>
                </a:cubicBezTo>
                <a:lnTo>
                  <a:pt x="132647" y="64022"/>
                </a:lnTo>
                <a:cubicBezTo>
                  <a:pt x="126033" y="59211"/>
                  <a:pt x="118817" y="55403"/>
                  <a:pt x="111199" y="52195"/>
                </a:cubicBezTo>
                <a:cubicBezTo>
                  <a:pt x="104184" y="49589"/>
                  <a:pt x="96566" y="48187"/>
                  <a:pt x="88948" y="48187"/>
                </a:cubicBezTo>
                <a:cubicBezTo>
                  <a:pt x="83134" y="47786"/>
                  <a:pt x="77320" y="49188"/>
                  <a:pt x="72108" y="51995"/>
                </a:cubicBezTo>
                <a:cubicBezTo>
                  <a:pt x="68100" y="54199"/>
                  <a:pt x="65895" y="58411"/>
                  <a:pt x="66096" y="63021"/>
                </a:cubicBezTo>
                <a:cubicBezTo>
                  <a:pt x="66296" y="68434"/>
                  <a:pt x="69703" y="73044"/>
                  <a:pt x="74714" y="74847"/>
                </a:cubicBezTo>
                <a:cubicBezTo>
                  <a:pt x="82332" y="78655"/>
                  <a:pt x="90351" y="81863"/>
                  <a:pt x="98369" y="84870"/>
                </a:cubicBezTo>
                <a:lnTo>
                  <a:pt x="124829" y="95294"/>
                </a:lnTo>
                <a:cubicBezTo>
                  <a:pt x="137257" y="99704"/>
                  <a:pt x="148083" y="107522"/>
                  <a:pt x="156503" y="117746"/>
                </a:cubicBezTo>
                <a:cubicBezTo>
                  <a:pt x="164121" y="128571"/>
                  <a:pt x="168129" y="141800"/>
                  <a:pt x="167527" y="155031"/>
                </a:cubicBezTo>
                <a:cubicBezTo>
                  <a:pt x="167527" y="164251"/>
                  <a:pt x="165523" y="173273"/>
                  <a:pt x="161715" y="181491"/>
                </a:cubicBezTo>
                <a:cubicBezTo>
                  <a:pt x="157905" y="190111"/>
                  <a:pt x="152292" y="197729"/>
                  <a:pt x="145076" y="203942"/>
                </a:cubicBezTo>
                <a:cubicBezTo>
                  <a:pt x="137257" y="210759"/>
                  <a:pt x="128238" y="215771"/>
                  <a:pt x="118415" y="219177"/>
                </a:cubicBezTo>
                <a:cubicBezTo>
                  <a:pt x="106589" y="223388"/>
                  <a:pt x="93960" y="225392"/>
                  <a:pt x="81331" y="225192"/>
                </a:cubicBez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4" name="Forma Livre: Forma 43">
            <a:extLst>
              <a:ext uri="{FF2B5EF4-FFF2-40B4-BE49-F238E27FC236}">
                <a16:creationId xmlns:a16="http://schemas.microsoft.com/office/drawing/2014/main" id="{F0047140-3BD5-2E40-DDD7-18F76C99B21A}"/>
              </a:ext>
            </a:extLst>
          </p:cNvPr>
          <p:cNvSpPr/>
          <p:nvPr/>
        </p:nvSpPr>
        <p:spPr>
          <a:xfrm>
            <a:off x="14458069" y="8060204"/>
            <a:ext cx="388116" cy="417648"/>
          </a:xfrm>
          <a:custGeom>
            <a:avLst/>
            <a:gdLst>
              <a:gd name="connsiteX0" fmla="*/ 129442 w 202864"/>
              <a:gd name="connsiteY0" fmla="*/ 170451 h 218300"/>
              <a:gd name="connsiteX1" fmla="*/ 69304 w 202864"/>
              <a:gd name="connsiteY1" fmla="*/ 170451 h 218300"/>
              <a:gd name="connsiteX2" fmla="*/ 58679 w 202864"/>
              <a:gd name="connsiteY2" fmla="*/ 216758 h 218300"/>
              <a:gd name="connsiteX3" fmla="*/ -1459 w 202864"/>
              <a:gd name="connsiteY3" fmla="*/ 216758 h 218300"/>
              <a:gd name="connsiteX4" fmla="*/ 64892 w 202864"/>
              <a:gd name="connsiteY4" fmla="*/ -1542 h 218300"/>
              <a:gd name="connsiteX5" fmla="*/ 134852 w 202864"/>
              <a:gd name="connsiteY5" fmla="*/ -1542 h 218300"/>
              <a:gd name="connsiteX6" fmla="*/ 201406 w 202864"/>
              <a:gd name="connsiteY6" fmla="*/ 216758 h 218300"/>
              <a:gd name="connsiteX7" fmla="*/ 140265 w 202864"/>
              <a:gd name="connsiteY7" fmla="*/ 216758 h 218300"/>
              <a:gd name="connsiteX8" fmla="*/ 119017 w 202864"/>
              <a:gd name="connsiteY8" fmla="*/ 125749 h 218300"/>
              <a:gd name="connsiteX9" fmla="*/ 115408 w 202864"/>
              <a:gd name="connsiteY9" fmla="*/ 110714 h 218300"/>
              <a:gd name="connsiteX10" fmla="*/ 107188 w 202864"/>
              <a:gd name="connsiteY10" fmla="*/ 76437 h 218300"/>
              <a:gd name="connsiteX11" fmla="*/ 99172 w 202864"/>
              <a:gd name="connsiteY11" fmla="*/ 41557 h 218300"/>
              <a:gd name="connsiteX12" fmla="*/ 97968 w 202864"/>
              <a:gd name="connsiteY12" fmla="*/ 41557 h 218300"/>
              <a:gd name="connsiteX13" fmla="*/ 90351 w 202864"/>
              <a:gd name="connsiteY13" fmla="*/ 76637 h 218300"/>
              <a:gd name="connsiteX14" fmla="*/ 82332 w 202864"/>
              <a:gd name="connsiteY14" fmla="*/ 110714 h 218300"/>
              <a:gd name="connsiteX15" fmla="*/ 78725 w 202864"/>
              <a:gd name="connsiteY15" fmla="*/ 125749 h 21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02864" h="218300">
                <a:moveTo>
                  <a:pt x="129442" y="170451"/>
                </a:moveTo>
                <a:lnTo>
                  <a:pt x="69304" y="170451"/>
                </a:lnTo>
                <a:lnTo>
                  <a:pt x="58679" y="216758"/>
                </a:lnTo>
                <a:lnTo>
                  <a:pt x="-1459" y="216758"/>
                </a:lnTo>
                <a:lnTo>
                  <a:pt x="64892" y="-1542"/>
                </a:lnTo>
                <a:lnTo>
                  <a:pt x="134852" y="-1542"/>
                </a:lnTo>
                <a:lnTo>
                  <a:pt x="201406" y="216758"/>
                </a:lnTo>
                <a:lnTo>
                  <a:pt x="140265" y="216758"/>
                </a:lnTo>
                <a:close/>
                <a:moveTo>
                  <a:pt x="119017" y="125749"/>
                </a:moveTo>
                <a:lnTo>
                  <a:pt x="115408" y="110714"/>
                </a:lnTo>
                <a:cubicBezTo>
                  <a:pt x="112601" y="100089"/>
                  <a:pt x="109995" y="88865"/>
                  <a:pt x="107188" y="76437"/>
                </a:cubicBezTo>
                <a:cubicBezTo>
                  <a:pt x="104384" y="64008"/>
                  <a:pt x="101976" y="52581"/>
                  <a:pt x="99172" y="41557"/>
                </a:cubicBezTo>
                <a:lnTo>
                  <a:pt x="97968" y="41557"/>
                </a:lnTo>
                <a:cubicBezTo>
                  <a:pt x="95362" y="52781"/>
                  <a:pt x="92957" y="64407"/>
                  <a:pt x="90351" y="76637"/>
                </a:cubicBezTo>
                <a:cubicBezTo>
                  <a:pt x="87744" y="88865"/>
                  <a:pt x="85138" y="100089"/>
                  <a:pt x="82332" y="110714"/>
                </a:cubicBezTo>
                <a:lnTo>
                  <a:pt x="78725" y="125749"/>
                </a:ln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5" name="Forma Livre: Forma 44">
            <a:extLst>
              <a:ext uri="{FF2B5EF4-FFF2-40B4-BE49-F238E27FC236}">
                <a16:creationId xmlns:a16="http://schemas.microsoft.com/office/drawing/2014/main" id="{C72A5B8B-98E4-F85C-2CCD-CEFE485BE399}"/>
              </a:ext>
            </a:extLst>
          </p:cNvPr>
          <p:cNvSpPr/>
          <p:nvPr/>
        </p:nvSpPr>
        <p:spPr>
          <a:xfrm>
            <a:off x="12990287" y="8892747"/>
            <a:ext cx="352900" cy="431851"/>
          </a:xfrm>
          <a:custGeom>
            <a:avLst/>
            <a:gdLst>
              <a:gd name="connsiteX0" fmla="*/ 108629 w 184457"/>
              <a:gd name="connsiteY0" fmla="*/ 224010 h 225724"/>
              <a:gd name="connsiteX1" fmla="*/ 65730 w 184457"/>
              <a:gd name="connsiteY1" fmla="*/ 217195 h 225724"/>
              <a:gd name="connsiteX2" fmla="*/ 30650 w 184457"/>
              <a:gd name="connsiteY2" fmla="*/ 197149 h 225724"/>
              <a:gd name="connsiteX3" fmla="*/ 7195 w 184457"/>
              <a:gd name="connsiteY3" fmla="*/ 162269 h 225724"/>
              <a:gd name="connsiteX4" fmla="*/ -1424 w 184457"/>
              <a:gd name="connsiteY4" fmla="*/ 113356 h 225724"/>
              <a:gd name="connsiteX5" fmla="*/ 7396 w 184457"/>
              <a:gd name="connsiteY5" fmla="*/ 64445 h 225724"/>
              <a:gd name="connsiteX6" fmla="*/ 31051 w 184457"/>
              <a:gd name="connsiteY6" fmla="*/ 28562 h 225724"/>
              <a:gd name="connsiteX7" fmla="*/ 65730 w 184457"/>
              <a:gd name="connsiteY7" fmla="*/ 6311 h 225724"/>
              <a:gd name="connsiteX8" fmla="*/ 107425 w 184457"/>
              <a:gd name="connsiteY8" fmla="*/ -1507 h 225724"/>
              <a:gd name="connsiteX9" fmla="*/ 149122 w 184457"/>
              <a:gd name="connsiteY9" fmla="*/ 7114 h 225724"/>
              <a:gd name="connsiteX10" fmla="*/ 178589 w 184457"/>
              <a:gd name="connsiteY10" fmla="*/ 27160 h 225724"/>
              <a:gd name="connsiteX11" fmla="*/ 148319 w 184457"/>
              <a:gd name="connsiteY11" fmla="*/ 64244 h 225724"/>
              <a:gd name="connsiteX12" fmla="*/ 131481 w 184457"/>
              <a:gd name="connsiteY12" fmla="*/ 52616 h 225724"/>
              <a:gd name="connsiteX13" fmla="*/ 109431 w 184457"/>
              <a:gd name="connsiteY13" fmla="*/ 48006 h 225724"/>
              <a:gd name="connsiteX14" fmla="*/ 89385 w 184457"/>
              <a:gd name="connsiteY14" fmla="*/ 52418 h 225724"/>
              <a:gd name="connsiteX15" fmla="*/ 72946 w 184457"/>
              <a:gd name="connsiteY15" fmla="*/ 64846 h 225724"/>
              <a:gd name="connsiteX16" fmla="*/ 61922 w 184457"/>
              <a:gd name="connsiteY16" fmla="*/ 84892 h 225724"/>
              <a:gd name="connsiteX17" fmla="*/ 58112 w 184457"/>
              <a:gd name="connsiteY17" fmla="*/ 111352 h 225724"/>
              <a:gd name="connsiteX18" fmla="*/ 71945 w 184457"/>
              <a:gd name="connsiteY18" fmla="*/ 158660 h 225724"/>
              <a:gd name="connsiteX19" fmla="*/ 115243 w 184457"/>
              <a:gd name="connsiteY19" fmla="*/ 175099 h 225724"/>
              <a:gd name="connsiteX20" fmla="*/ 124466 w 184457"/>
              <a:gd name="connsiteY20" fmla="*/ 174096 h 225724"/>
              <a:gd name="connsiteX21" fmla="*/ 131883 w 184457"/>
              <a:gd name="connsiteY21" fmla="*/ 171088 h 225724"/>
              <a:gd name="connsiteX22" fmla="*/ 131883 w 184457"/>
              <a:gd name="connsiteY22" fmla="*/ 141019 h 225724"/>
              <a:gd name="connsiteX23" fmla="*/ 99810 w 184457"/>
              <a:gd name="connsiteY23" fmla="*/ 141019 h 225724"/>
              <a:gd name="connsiteX24" fmla="*/ 99810 w 184457"/>
              <a:gd name="connsiteY24" fmla="*/ 93912 h 225724"/>
              <a:gd name="connsiteX25" fmla="*/ 182998 w 184457"/>
              <a:gd name="connsiteY25" fmla="*/ 93912 h 225724"/>
              <a:gd name="connsiteX26" fmla="*/ 182998 w 184457"/>
              <a:gd name="connsiteY26" fmla="*/ 197949 h 225724"/>
              <a:gd name="connsiteX27" fmla="*/ 151728 w 184457"/>
              <a:gd name="connsiteY27" fmla="*/ 217995 h 225724"/>
              <a:gd name="connsiteX28" fmla="*/ 108629 w 184457"/>
              <a:gd name="connsiteY28" fmla="*/ 224010 h 225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84457" h="225724">
                <a:moveTo>
                  <a:pt x="108629" y="224010"/>
                </a:moveTo>
                <a:cubicBezTo>
                  <a:pt x="93995" y="224211"/>
                  <a:pt x="79563" y="221805"/>
                  <a:pt x="65730" y="217195"/>
                </a:cubicBezTo>
                <a:cubicBezTo>
                  <a:pt x="52700" y="213184"/>
                  <a:pt x="40873" y="206169"/>
                  <a:pt x="30650" y="197149"/>
                </a:cubicBezTo>
                <a:cubicBezTo>
                  <a:pt x="20225" y="187527"/>
                  <a:pt x="12206" y="175498"/>
                  <a:pt x="7195" y="162269"/>
                </a:cubicBezTo>
                <a:cubicBezTo>
                  <a:pt x="1183" y="146633"/>
                  <a:pt x="-1825" y="129996"/>
                  <a:pt x="-1424" y="113356"/>
                </a:cubicBezTo>
                <a:cubicBezTo>
                  <a:pt x="-1825" y="96719"/>
                  <a:pt x="1183" y="80079"/>
                  <a:pt x="7396" y="64445"/>
                </a:cubicBezTo>
                <a:cubicBezTo>
                  <a:pt x="12808" y="51013"/>
                  <a:pt x="20827" y="38786"/>
                  <a:pt x="31051" y="28562"/>
                </a:cubicBezTo>
                <a:cubicBezTo>
                  <a:pt x="40873" y="18740"/>
                  <a:pt x="52700" y="11122"/>
                  <a:pt x="65730" y="6311"/>
                </a:cubicBezTo>
                <a:cubicBezTo>
                  <a:pt x="78961" y="1099"/>
                  <a:pt x="93193" y="-1507"/>
                  <a:pt x="107425" y="-1507"/>
                </a:cubicBezTo>
                <a:cubicBezTo>
                  <a:pt x="121860" y="-1908"/>
                  <a:pt x="136091" y="1099"/>
                  <a:pt x="149122" y="7114"/>
                </a:cubicBezTo>
                <a:cubicBezTo>
                  <a:pt x="159947" y="12125"/>
                  <a:pt x="169970" y="18940"/>
                  <a:pt x="178589" y="27160"/>
                </a:cubicBezTo>
                <a:lnTo>
                  <a:pt x="148319" y="64244"/>
                </a:lnTo>
                <a:cubicBezTo>
                  <a:pt x="143308" y="59634"/>
                  <a:pt x="137494" y="55824"/>
                  <a:pt x="131481" y="52616"/>
                </a:cubicBezTo>
                <a:cubicBezTo>
                  <a:pt x="124666" y="49411"/>
                  <a:pt x="117049" y="47805"/>
                  <a:pt x="109431" y="48006"/>
                </a:cubicBezTo>
                <a:cubicBezTo>
                  <a:pt x="102413" y="48006"/>
                  <a:pt x="95598" y="49411"/>
                  <a:pt x="89385" y="52418"/>
                </a:cubicBezTo>
                <a:cubicBezTo>
                  <a:pt x="82969" y="55222"/>
                  <a:pt x="77356" y="59434"/>
                  <a:pt x="72946" y="64846"/>
                </a:cubicBezTo>
                <a:cubicBezTo>
                  <a:pt x="67935" y="70658"/>
                  <a:pt x="64127" y="77475"/>
                  <a:pt x="61922" y="84892"/>
                </a:cubicBezTo>
                <a:cubicBezTo>
                  <a:pt x="59316" y="93511"/>
                  <a:pt x="57912" y="102332"/>
                  <a:pt x="58112" y="111352"/>
                </a:cubicBezTo>
                <a:cubicBezTo>
                  <a:pt x="56911" y="128190"/>
                  <a:pt x="61922" y="145030"/>
                  <a:pt x="71945" y="158660"/>
                </a:cubicBezTo>
                <a:cubicBezTo>
                  <a:pt x="82969" y="170486"/>
                  <a:pt x="99007" y="176501"/>
                  <a:pt x="115243" y="175099"/>
                </a:cubicBezTo>
                <a:cubicBezTo>
                  <a:pt x="118250" y="175099"/>
                  <a:pt x="121458" y="174898"/>
                  <a:pt x="124466" y="174096"/>
                </a:cubicBezTo>
                <a:cubicBezTo>
                  <a:pt x="127072" y="173694"/>
                  <a:pt x="129678" y="172493"/>
                  <a:pt x="131883" y="171088"/>
                </a:cubicBezTo>
                <a:lnTo>
                  <a:pt x="131883" y="141019"/>
                </a:lnTo>
                <a:lnTo>
                  <a:pt x="99810" y="141019"/>
                </a:lnTo>
                <a:lnTo>
                  <a:pt x="99810" y="93912"/>
                </a:lnTo>
                <a:lnTo>
                  <a:pt x="182998" y="93912"/>
                </a:lnTo>
                <a:lnTo>
                  <a:pt x="182998" y="197949"/>
                </a:lnTo>
                <a:cubicBezTo>
                  <a:pt x="173979" y="206570"/>
                  <a:pt x="163354" y="213385"/>
                  <a:pt x="151728" y="217995"/>
                </a:cubicBezTo>
                <a:cubicBezTo>
                  <a:pt x="137895" y="222808"/>
                  <a:pt x="123262" y="224813"/>
                  <a:pt x="108629" y="224010"/>
                </a:cubicBez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6" name="Forma Livre: Forma 45">
            <a:extLst>
              <a:ext uri="{FF2B5EF4-FFF2-40B4-BE49-F238E27FC236}">
                <a16:creationId xmlns:a16="http://schemas.microsoft.com/office/drawing/2014/main" id="{59434494-E60B-5B3B-5CE3-70FDB517CDDF}"/>
              </a:ext>
            </a:extLst>
          </p:cNvPr>
          <p:cNvSpPr/>
          <p:nvPr/>
        </p:nvSpPr>
        <p:spPr>
          <a:xfrm>
            <a:off x="13421426" y="8897801"/>
            <a:ext cx="278049" cy="417648"/>
          </a:xfrm>
          <a:custGeom>
            <a:avLst/>
            <a:gdLst>
              <a:gd name="connsiteX0" fmla="*/ -1459 w 145333"/>
              <a:gd name="connsiteY0" fmla="*/ -1542 h 218300"/>
              <a:gd name="connsiteX1" fmla="*/ 138863 w 145333"/>
              <a:gd name="connsiteY1" fmla="*/ -1542 h 218300"/>
              <a:gd name="connsiteX2" fmla="*/ 138863 w 145333"/>
              <a:gd name="connsiteY2" fmla="*/ 46970 h 218300"/>
              <a:gd name="connsiteX3" fmla="*/ 55471 w 145333"/>
              <a:gd name="connsiteY3" fmla="*/ 46970 h 218300"/>
              <a:gd name="connsiteX4" fmla="*/ 55471 w 145333"/>
              <a:gd name="connsiteY4" fmla="*/ 81047 h 218300"/>
              <a:gd name="connsiteX5" fmla="*/ 126836 w 145333"/>
              <a:gd name="connsiteY5" fmla="*/ 81047 h 218300"/>
              <a:gd name="connsiteX6" fmla="*/ 126836 w 145333"/>
              <a:gd name="connsiteY6" fmla="*/ 129559 h 218300"/>
              <a:gd name="connsiteX7" fmla="*/ 55471 w 145333"/>
              <a:gd name="connsiteY7" fmla="*/ 129559 h 218300"/>
              <a:gd name="connsiteX8" fmla="*/ 55471 w 145333"/>
              <a:gd name="connsiteY8" fmla="*/ 168447 h 218300"/>
              <a:gd name="connsiteX9" fmla="*/ 143874 w 145333"/>
              <a:gd name="connsiteY9" fmla="*/ 168447 h 218300"/>
              <a:gd name="connsiteX10" fmla="*/ 143874 w 145333"/>
              <a:gd name="connsiteY10" fmla="*/ 216758 h 218300"/>
              <a:gd name="connsiteX11" fmla="*/ -656 w 145333"/>
              <a:gd name="connsiteY11" fmla="*/ 216758 h 21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5333" h="218300">
                <a:moveTo>
                  <a:pt x="-1459" y="-1542"/>
                </a:moveTo>
                <a:lnTo>
                  <a:pt x="138863" y="-1542"/>
                </a:lnTo>
                <a:lnTo>
                  <a:pt x="138863" y="46970"/>
                </a:lnTo>
                <a:lnTo>
                  <a:pt x="55471" y="46970"/>
                </a:lnTo>
                <a:lnTo>
                  <a:pt x="55471" y="81047"/>
                </a:lnTo>
                <a:lnTo>
                  <a:pt x="126836" y="81047"/>
                </a:lnTo>
                <a:lnTo>
                  <a:pt x="126836" y="129559"/>
                </a:lnTo>
                <a:lnTo>
                  <a:pt x="55471" y="129559"/>
                </a:lnTo>
                <a:lnTo>
                  <a:pt x="55471" y="168447"/>
                </a:lnTo>
                <a:lnTo>
                  <a:pt x="143874" y="168447"/>
                </a:lnTo>
                <a:lnTo>
                  <a:pt x="143874" y="216758"/>
                </a:lnTo>
                <a:lnTo>
                  <a:pt x="-656" y="216758"/>
                </a:ln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7" name="Forma Livre: Forma 46">
            <a:extLst>
              <a:ext uri="{FF2B5EF4-FFF2-40B4-BE49-F238E27FC236}">
                <a16:creationId xmlns:a16="http://schemas.microsoft.com/office/drawing/2014/main" id="{9AD84E50-4307-FE85-6CF6-3344D24C8F4E}"/>
              </a:ext>
            </a:extLst>
          </p:cNvPr>
          <p:cNvSpPr/>
          <p:nvPr/>
        </p:nvSpPr>
        <p:spPr>
          <a:xfrm>
            <a:off x="13778861" y="8897801"/>
            <a:ext cx="340944" cy="417648"/>
          </a:xfrm>
          <a:custGeom>
            <a:avLst/>
            <a:gdLst>
              <a:gd name="connsiteX0" fmla="*/ -1459 w 178208"/>
              <a:gd name="connsiteY0" fmla="*/ -1542 h 218300"/>
              <a:gd name="connsiteX1" fmla="*/ 58679 w 178208"/>
              <a:gd name="connsiteY1" fmla="*/ -1542 h 218300"/>
              <a:gd name="connsiteX2" fmla="*/ 106990 w 178208"/>
              <a:gd name="connsiteY2" fmla="*/ 95881 h 218300"/>
              <a:gd name="connsiteX3" fmla="*/ 127036 w 178208"/>
              <a:gd name="connsiteY3" fmla="*/ 144995 h 218300"/>
              <a:gd name="connsiteX4" fmla="*/ 128240 w 178208"/>
              <a:gd name="connsiteY4" fmla="*/ 144995 h 218300"/>
              <a:gd name="connsiteX5" fmla="*/ 126035 w 178208"/>
              <a:gd name="connsiteY5" fmla="*/ 124949 h 218300"/>
              <a:gd name="connsiteX6" fmla="*/ 123630 w 178208"/>
              <a:gd name="connsiteY6" fmla="*/ 103699 h 218300"/>
              <a:gd name="connsiteX7" fmla="*/ 121824 w 178208"/>
              <a:gd name="connsiteY7" fmla="*/ 81849 h 218300"/>
              <a:gd name="connsiteX8" fmla="*/ 121824 w 178208"/>
              <a:gd name="connsiteY8" fmla="*/ 61803 h 218300"/>
              <a:gd name="connsiteX9" fmla="*/ 121824 w 178208"/>
              <a:gd name="connsiteY9" fmla="*/ -1542 h 218300"/>
              <a:gd name="connsiteX10" fmla="*/ 176750 w 178208"/>
              <a:gd name="connsiteY10" fmla="*/ -1542 h 218300"/>
              <a:gd name="connsiteX11" fmla="*/ 176750 w 178208"/>
              <a:gd name="connsiteY11" fmla="*/ 216758 h 218300"/>
              <a:gd name="connsiteX12" fmla="*/ 116612 w 178208"/>
              <a:gd name="connsiteY12" fmla="*/ 216758 h 218300"/>
              <a:gd name="connsiteX13" fmla="*/ 68303 w 178208"/>
              <a:gd name="connsiteY13" fmla="*/ 119135 h 218300"/>
              <a:gd name="connsiteX14" fmla="*/ 48257 w 178208"/>
              <a:gd name="connsiteY14" fmla="*/ 70422 h 218300"/>
              <a:gd name="connsiteX15" fmla="*/ 47053 w 178208"/>
              <a:gd name="connsiteY15" fmla="*/ 70422 h 218300"/>
              <a:gd name="connsiteX16" fmla="*/ 51663 w 178208"/>
              <a:gd name="connsiteY16" fmla="*/ 110514 h 218300"/>
              <a:gd name="connsiteX17" fmla="*/ 54470 w 178208"/>
              <a:gd name="connsiteY17" fmla="*/ 152810 h 218300"/>
              <a:gd name="connsiteX18" fmla="*/ 54470 w 178208"/>
              <a:gd name="connsiteY18" fmla="*/ 215956 h 218300"/>
              <a:gd name="connsiteX19" fmla="*/ -656 w 178208"/>
              <a:gd name="connsiteY19" fmla="*/ 215956 h 21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78208" h="218300">
                <a:moveTo>
                  <a:pt x="-1459" y="-1542"/>
                </a:moveTo>
                <a:lnTo>
                  <a:pt x="58679" y="-1542"/>
                </a:lnTo>
                <a:lnTo>
                  <a:pt x="106990" y="95881"/>
                </a:lnTo>
                <a:lnTo>
                  <a:pt x="127036" y="144995"/>
                </a:lnTo>
                <a:lnTo>
                  <a:pt x="128240" y="144995"/>
                </a:lnTo>
                <a:cubicBezTo>
                  <a:pt x="128240" y="139180"/>
                  <a:pt x="126836" y="132764"/>
                  <a:pt x="126035" y="124949"/>
                </a:cubicBezTo>
                <a:cubicBezTo>
                  <a:pt x="125233" y="117130"/>
                  <a:pt x="124229" y="110915"/>
                  <a:pt x="123630" y="103699"/>
                </a:cubicBezTo>
                <a:lnTo>
                  <a:pt x="121824" y="81849"/>
                </a:lnTo>
                <a:cubicBezTo>
                  <a:pt x="121824" y="74633"/>
                  <a:pt x="121824" y="67615"/>
                  <a:pt x="121824" y="61803"/>
                </a:cubicBezTo>
                <a:lnTo>
                  <a:pt x="121824" y="-1542"/>
                </a:lnTo>
                <a:lnTo>
                  <a:pt x="176750" y="-1542"/>
                </a:lnTo>
                <a:lnTo>
                  <a:pt x="176750" y="216758"/>
                </a:lnTo>
                <a:lnTo>
                  <a:pt x="116612" y="216758"/>
                </a:lnTo>
                <a:lnTo>
                  <a:pt x="68303" y="119135"/>
                </a:lnTo>
                <a:lnTo>
                  <a:pt x="48257" y="70422"/>
                </a:lnTo>
                <a:lnTo>
                  <a:pt x="47053" y="70422"/>
                </a:lnTo>
                <a:cubicBezTo>
                  <a:pt x="48257" y="82850"/>
                  <a:pt x="49860" y="96482"/>
                  <a:pt x="51663" y="110514"/>
                </a:cubicBezTo>
                <a:cubicBezTo>
                  <a:pt x="53469" y="124547"/>
                  <a:pt x="54470" y="138578"/>
                  <a:pt x="54470" y="152810"/>
                </a:cubicBezTo>
                <a:lnTo>
                  <a:pt x="54470" y="215956"/>
                </a:lnTo>
                <a:lnTo>
                  <a:pt x="-656" y="215956"/>
                </a:ln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8" name="Forma Livre: Forma 47">
            <a:extLst>
              <a:ext uri="{FF2B5EF4-FFF2-40B4-BE49-F238E27FC236}">
                <a16:creationId xmlns:a16="http://schemas.microsoft.com/office/drawing/2014/main" id="{EF0FB904-3AAC-7F4D-2F3B-047B3141AC0F}"/>
              </a:ext>
            </a:extLst>
          </p:cNvPr>
          <p:cNvSpPr/>
          <p:nvPr/>
        </p:nvSpPr>
        <p:spPr>
          <a:xfrm>
            <a:off x="14179638" y="8897801"/>
            <a:ext cx="331740" cy="417648"/>
          </a:xfrm>
          <a:custGeom>
            <a:avLst/>
            <a:gdLst>
              <a:gd name="connsiteX0" fmla="*/ 56273 w 173397"/>
              <a:gd name="connsiteY0" fmla="*/ 47569 h 218300"/>
              <a:gd name="connsiteX1" fmla="*/ -1459 w 173397"/>
              <a:gd name="connsiteY1" fmla="*/ 47569 h 218300"/>
              <a:gd name="connsiteX2" fmla="*/ -1459 w 173397"/>
              <a:gd name="connsiteY2" fmla="*/ -1542 h 218300"/>
              <a:gd name="connsiteX3" fmla="*/ 171939 w 173397"/>
              <a:gd name="connsiteY3" fmla="*/ -1542 h 218300"/>
              <a:gd name="connsiteX4" fmla="*/ 171939 w 173397"/>
              <a:gd name="connsiteY4" fmla="*/ 46970 h 218300"/>
              <a:gd name="connsiteX5" fmla="*/ 114006 w 173397"/>
              <a:gd name="connsiteY5" fmla="*/ 46970 h 218300"/>
              <a:gd name="connsiteX6" fmla="*/ 114006 w 173397"/>
              <a:gd name="connsiteY6" fmla="*/ 216758 h 218300"/>
              <a:gd name="connsiteX7" fmla="*/ 56273 w 173397"/>
              <a:gd name="connsiteY7" fmla="*/ 216758 h 21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3397" h="218300">
                <a:moveTo>
                  <a:pt x="56273" y="47569"/>
                </a:moveTo>
                <a:lnTo>
                  <a:pt x="-1459" y="47569"/>
                </a:lnTo>
                <a:lnTo>
                  <a:pt x="-1459" y="-1542"/>
                </a:lnTo>
                <a:lnTo>
                  <a:pt x="171939" y="-1542"/>
                </a:lnTo>
                <a:lnTo>
                  <a:pt x="171939" y="46970"/>
                </a:lnTo>
                <a:lnTo>
                  <a:pt x="114006" y="46970"/>
                </a:lnTo>
                <a:lnTo>
                  <a:pt x="114006" y="216758"/>
                </a:lnTo>
                <a:lnTo>
                  <a:pt x="56273" y="216758"/>
                </a:ln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49" name="Forma Livre: Forma 48">
            <a:extLst>
              <a:ext uri="{FF2B5EF4-FFF2-40B4-BE49-F238E27FC236}">
                <a16:creationId xmlns:a16="http://schemas.microsoft.com/office/drawing/2014/main" id="{67116D42-12C5-4466-711D-33AA17071BB7}"/>
              </a:ext>
            </a:extLst>
          </p:cNvPr>
          <p:cNvSpPr/>
          <p:nvPr/>
        </p:nvSpPr>
        <p:spPr>
          <a:xfrm>
            <a:off x="14573124" y="8897801"/>
            <a:ext cx="276897" cy="417648"/>
          </a:xfrm>
          <a:custGeom>
            <a:avLst/>
            <a:gdLst>
              <a:gd name="connsiteX0" fmla="*/ -1459 w 144731"/>
              <a:gd name="connsiteY0" fmla="*/ -1542 h 218300"/>
              <a:gd name="connsiteX1" fmla="*/ 138863 w 144731"/>
              <a:gd name="connsiteY1" fmla="*/ -1542 h 218300"/>
              <a:gd name="connsiteX2" fmla="*/ 138863 w 144731"/>
              <a:gd name="connsiteY2" fmla="*/ 46970 h 218300"/>
              <a:gd name="connsiteX3" fmla="*/ 55671 w 144731"/>
              <a:gd name="connsiteY3" fmla="*/ 46970 h 218300"/>
              <a:gd name="connsiteX4" fmla="*/ 55671 w 144731"/>
              <a:gd name="connsiteY4" fmla="*/ 81047 h 218300"/>
              <a:gd name="connsiteX5" fmla="*/ 126836 w 144731"/>
              <a:gd name="connsiteY5" fmla="*/ 81047 h 218300"/>
              <a:gd name="connsiteX6" fmla="*/ 126836 w 144731"/>
              <a:gd name="connsiteY6" fmla="*/ 129559 h 218300"/>
              <a:gd name="connsiteX7" fmla="*/ 55671 w 144731"/>
              <a:gd name="connsiteY7" fmla="*/ 129559 h 218300"/>
              <a:gd name="connsiteX8" fmla="*/ 55671 w 144731"/>
              <a:gd name="connsiteY8" fmla="*/ 168447 h 218300"/>
              <a:gd name="connsiteX9" fmla="*/ 143272 w 144731"/>
              <a:gd name="connsiteY9" fmla="*/ 168447 h 218300"/>
              <a:gd name="connsiteX10" fmla="*/ 143272 w 144731"/>
              <a:gd name="connsiteY10" fmla="*/ 216758 h 218300"/>
              <a:gd name="connsiteX11" fmla="*/ -1058 w 144731"/>
              <a:gd name="connsiteY11" fmla="*/ 216758 h 21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4731" h="218300">
                <a:moveTo>
                  <a:pt x="-1459" y="-1542"/>
                </a:moveTo>
                <a:lnTo>
                  <a:pt x="138863" y="-1542"/>
                </a:lnTo>
                <a:lnTo>
                  <a:pt x="138863" y="46970"/>
                </a:lnTo>
                <a:lnTo>
                  <a:pt x="55671" y="46970"/>
                </a:lnTo>
                <a:lnTo>
                  <a:pt x="55671" y="81047"/>
                </a:lnTo>
                <a:lnTo>
                  <a:pt x="126836" y="81047"/>
                </a:lnTo>
                <a:lnTo>
                  <a:pt x="126836" y="129559"/>
                </a:lnTo>
                <a:lnTo>
                  <a:pt x="55671" y="129559"/>
                </a:lnTo>
                <a:lnTo>
                  <a:pt x="55671" y="168447"/>
                </a:lnTo>
                <a:lnTo>
                  <a:pt x="143272" y="168447"/>
                </a:lnTo>
                <a:lnTo>
                  <a:pt x="143272" y="216758"/>
                </a:lnTo>
                <a:lnTo>
                  <a:pt x="-1058" y="216758"/>
                </a:lnTo>
                <a:close/>
              </a:path>
            </a:pathLst>
          </a:custGeom>
          <a:solidFill>
            <a:srgbClr val="0054B8"/>
          </a:solidFill>
          <a:ln w="20029" cap="flat">
            <a:noFill/>
            <a:prstDash val="solid"/>
            <a:miter/>
          </a:ln>
        </p:spPr>
        <p:txBody>
          <a:bodyPr rtlCol="0" anchor="ctr"/>
          <a:lstStyle/>
          <a:p>
            <a:endParaRPr lang="pt-BR"/>
          </a:p>
        </p:txBody>
      </p:sp>
      <p:sp>
        <p:nvSpPr>
          <p:cNvPr id="50" name="Espaço Reservado para Conteúdo 2">
            <a:extLst>
              <a:ext uri="{FF2B5EF4-FFF2-40B4-BE49-F238E27FC236}">
                <a16:creationId xmlns:a16="http://schemas.microsoft.com/office/drawing/2014/main" id="{AA7E6BEA-403B-3A76-AB1B-3EADE27A5DD3}"/>
              </a:ext>
            </a:extLst>
          </p:cNvPr>
          <p:cNvSpPr txBox="1">
            <a:spLocks/>
          </p:cNvSpPr>
          <p:nvPr/>
        </p:nvSpPr>
        <p:spPr>
          <a:xfrm>
            <a:off x="7865705" y="7050189"/>
            <a:ext cx="3258347" cy="8714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400" b="1" dirty="0">
                <a:solidFill>
                  <a:srgbClr val="F8880C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33 mil</a:t>
            </a:r>
          </a:p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endParaRPr lang="pt-BR" sz="2000" dirty="0">
              <a:solidFill>
                <a:srgbClr val="F8880C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1" name="Espaço Reservado para Conteúdo 2">
            <a:extLst>
              <a:ext uri="{FF2B5EF4-FFF2-40B4-BE49-F238E27FC236}">
                <a16:creationId xmlns:a16="http://schemas.microsoft.com/office/drawing/2014/main" id="{29EE4FB9-D0D9-BFD8-7355-918205A7FE9E}"/>
              </a:ext>
            </a:extLst>
          </p:cNvPr>
          <p:cNvSpPr txBox="1">
            <a:spLocks/>
          </p:cNvSpPr>
          <p:nvPr/>
        </p:nvSpPr>
        <p:spPr>
          <a:xfrm>
            <a:off x="9796533" y="4669123"/>
            <a:ext cx="3217579" cy="5829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400" b="1" dirty="0">
                <a:solidFill>
                  <a:srgbClr val="0054B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27 mil</a:t>
            </a:r>
          </a:p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endParaRPr lang="pt-BR" sz="2000" dirty="0">
              <a:solidFill>
                <a:srgbClr val="0054B8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2" name="Espaço Reservado para Conteúdo 2">
            <a:extLst>
              <a:ext uri="{FF2B5EF4-FFF2-40B4-BE49-F238E27FC236}">
                <a16:creationId xmlns:a16="http://schemas.microsoft.com/office/drawing/2014/main" id="{A478B3B2-8512-A0CE-E947-30573811540E}"/>
              </a:ext>
            </a:extLst>
          </p:cNvPr>
          <p:cNvSpPr txBox="1">
            <a:spLocks/>
          </p:cNvSpPr>
          <p:nvPr/>
        </p:nvSpPr>
        <p:spPr>
          <a:xfrm>
            <a:off x="11031443" y="5447662"/>
            <a:ext cx="1971542" cy="6407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3200" dirty="0">
                <a:solidFill>
                  <a:srgbClr val="0054B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édicos</a:t>
            </a:r>
          </a:p>
        </p:txBody>
      </p:sp>
      <p:sp>
        <p:nvSpPr>
          <p:cNvPr id="53" name="Espaço Reservado para Conteúdo 2">
            <a:extLst>
              <a:ext uri="{FF2B5EF4-FFF2-40B4-BE49-F238E27FC236}">
                <a16:creationId xmlns:a16="http://schemas.microsoft.com/office/drawing/2014/main" id="{FE0560A1-4F16-954B-6E95-70DF94C9686E}"/>
              </a:ext>
            </a:extLst>
          </p:cNvPr>
          <p:cNvSpPr txBox="1">
            <a:spLocks/>
          </p:cNvSpPr>
          <p:nvPr/>
        </p:nvSpPr>
        <p:spPr>
          <a:xfrm>
            <a:off x="9089863" y="7827619"/>
            <a:ext cx="2034543" cy="5926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3200" dirty="0">
                <a:solidFill>
                  <a:srgbClr val="F8880C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ntistas</a:t>
            </a:r>
          </a:p>
        </p:txBody>
      </p:sp>
      <p:sp>
        <p:nvSpPr>
          <p:cNvPr id="54" name="Espaço Reservado para Conteúdo 2">
            <a:extLst>
              <a:ext uri="{FF2B5EF4-FFF2-40B4-BE49-F238E27FC236}">
                <a16:creationId xmlns:a16="http://schemas.microsoft.com/office/drawing/2014/main" id="{FEBEA9D8-1448-20C5-DAE3-F6CE64EE8320}"/>
              </a:ext>
            </a:extLst>
          </p:cNvPr>
          <p:cNvSpPr txBox="1">
            <a:spLocks/>
          </p:cNvSpPr>
          <p:nvPr/>
        </p:nvSpPr>
        <p:spPr>
          <a:xfrm>
            <a:off x="8012087" y="10113606"/>
            <a:ext cx="3335532" cy="5851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3200" dirty="0">
                <a:solidFill>
                  <a:srgbClr val="0054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aboradores</a:t>
            </a:r>
          </a:p>
        </p:txBody>
      </p:sp>
      <p:sp>
        <p:nvSpPr>
          <p:cNvPr id="55" name="Espaço Reservado para Conteúdo 2">
            <a:extLst>
              <a:ext uri="{FF2B5EF4-FFF2-40B4-BE49-F238E27FC236}">
                <a16:creationId xmlns:a16="http://schemas.microsoft.com/office/drawing/2014/main" id="{FED1A0F8-DF6E-C532-8995-D54A3B3EF3A9}"/>
              </a:ext>
            </a:extLst>
          </p:cNvPr>
          <p:cNvSpPr txBox="1">
            <a:spLocks/>
          </p:cNvSpPr>
          <p:nvPr/>
        </p:nvSpPr>
        <p:spPr>
          <a:xfrm>
            <a:off x="17243577" y="9296621"/>
            <a:ext cx="4910869" cy="11095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400" b="1" dirty="0">
                <a:solidFill>
                  <a:srgbClr val="F8880C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15,2 milhões </a:t>
            </a:r>
            <a:endParaRPr lang="pt-BR" sz="4400" dirty="0">
              <a:solidFill>
                <a:srgbClr val="F8880C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6" name="Espaço Reservado para Conteúdo 2">
            <a:extLst>
              <a:ext uri="{FF2B5EF4-FFF2-40B4-BE49-F238E27FC236}">
                <a16:creationId xmlns:a16="http://schemas.microsoft.com/office/drawing/2014/main" id="{4D2EA560-45D5-59E1-637E-8521E08F3C61}"/>
              </a:ext>
            </a:extLst>
          </p:cNvPr>
          <p:cNvSpPr txBox="1">
            <a:spLocks/>
          </p:cNvSpPr>
          <p:nvPr/>
        </p:nvSpPr>
        <p:spPr>
          <a:xfrm>
            <a:off x="15724690" y="10080020"/>
            <a:ext cx="5312944" cy="14005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3200" dirty="0">
                <a:solidFill>
                  <a:srgbClr val="F8880C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entes saúde + </a:t>
            </a:r>
            <a:r>
              <a:rPr lang="pt-BR" sz="3200" dirty="0" err="1">
                <a:solidFill>
                  <a:srgbClr val="F8880C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onto</a:t>
            </a:r>
            <a:endParaRPr lang="pt-BR" sz="3200" dirty="0">
              <a:solidFill>
                <a:srgbClr val="F8880C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7" name="Espaço Reservado para Conteúdo 2">
            <a:extLst>
              <a:ext uri="{FF2B5EF4-FFF2-40B4-BE49-F238E27FC236}">
                <a16:creationId xmlns:a16="http://schemas.microsoft.com/office/drawing/2014/main" id="{AC8BF728-5EE3-4B87-5613-064795EFA13A}"/>
              </a:ext>
            </a:extLst>
          </p:cNvPr>
          <p:cNvSpPr txBox="1">
            <a:spLocks/>
          </p:cNvSpPr>
          <p:nvPr/>
        </p:nvSpPr>
        <p:spPr>
          <a:xfrm>
            <a:off x="16930970" y="6941434"/>
            <a:ext cx="4287381" cy="11584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400" b="1" dirty="0">
                <a:solidFill>
                  <a:srgbClr val="0054B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6,5 milhões</a:t>
            </a:r>
            <a:endParaRPr lang="pt-BR" sz="4400" dirty="0">
              <a:solidFill>
                <a:srgbClr val="0054B8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8" name="Espaço Reservado para Conteúdo 2">
            <a:extLst>
              <a:ext uri="{FF2B5EF4-FFF2-40B4-BE49-F238E27FC236}">
                <a16:creationId xmlns:a16="http://schemas.microsoft.com/office/drawing/2014/main" id="{8026455B-28AE-F201-EBCA-0ECADDC73422}"/>
              </a:ext>
            </a:extLst>
          </p:cNvPr>
          <p:cNvSpPr txBox="1">
            <a:spLocks/>
          </p:cNvSpPr>
          <p:nvPr/>
        </p:nvSpPr>
        <p:spPr>
          <a:xfrm>
            <a:off x="16929790" y="7684298"/>
            <a:ext cx="3416816" cy="6383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3200" dirty="0">
                <a:solidFill>
                  <a:srgbClr val="0054B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entes </a:t>
            </a:r>
            <a:r>
              <a:rPr lang="pt-BR" sz="3200" dirty="0" err="1">
                <a:solidFill>
                  <a:srgbClr val="0054B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onto</a:t>
            </a:r>
            <a:endParaRPr lang="pt-BR" sz="3200" dirty="0">
              <a:solidFill>
                <a:srgbClr val="0054B8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Espaço Reservado para Conteúdo 2">
            <a:extLst>
              <a:ext uri="{FF2B5EF4-FFF2-40B4-BE49-F238E27FC236}">
                <a16:creationId xmlns:a16="http://schemas.microsoft.com/office/drawing/2014/main" id="{C9811433-985B-4595-2CFF-12B2DE842610}"/>
              </a:ext>
            </a:extLst>
          </p:cNvPr>
          <p:cNvSpPr txBox="1">
            <a:spLocks/>
          </p:cNvSpPr>
          <p:nvPr/>
        </p:nvSpPr>
        <p:spPr>
          <a:xfrm>
            <a:off x="15015069" y="4898831"/>
            <a:ext cx="4586685" cy="8134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400" b="1" dirty="0">
                <a:solidFill>
                  <a:srgbClr val="F8880C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8,7 milhões</a:t>
            </a:r>
            <a:endParaRPr lang="pt-BR" sz="4400" dirty="0">
              <a:solidFill>
                <a:srgbClr val="F8880C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0" name="Espaço Reservado para Conteúdo 2">
            <a:extLst>
              <a:ext uri="{FF2B5EF4-FFF2-40B4-BE49-F238E27FC236}">
                <a16:creationId xmlns:a16="http://schemas.microsoft.com/office/drawing/2014/main" id="{644BBEB8-E7EB-A0ED-93DC-1BC5E02D2837}"/>
              </a:ext>
            </a:extLst>
          </p:cNvPr>
          <p:cNvSpPr txBox="1">
            <a:spLocks/>
          </p:cNvSpPr>
          <p:nvPr/>
        </p:nvSpPr>
        <p:spPr>
          <a:xfrm>
            <a:off x="14988225" y="5657852"/>
            <a:ext cx="3657806" cy="5897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3200" dirty="0">
                <a:solidFill>
                  <a:srgbClr val="F8880C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entes saúde</a:t>
            </a:r>
          </a:p>
        </p:txBody>
      </p:sp>
      <p:sp>
        <p:nvSpPr>
          <p:cNvPr id="61" name="Espaço Reservado para Conteúdo 2">
            <a:extLst>
              <a:ext uri="{FF2B5EF4-FFF2-40B4-BE49-F238E27FC236}">
                <a16:creationId xmlns:a16="http://schemas.microsoft.com/office/drawing/2014/main" id="{B663EF66-0E58-9BF3-7AE5-84BB538B304D}"/>
              </a:ext>
            </a:extLst>
          </p:cNvPr>
          <p:cNvSpPr txBox="1">
            <a:spLocks/>
          </p:cNvSpPr>
          <p:nvPr/>
        </p:nvSpPr>
        <p:spPr>
          <a:xfrm>
            <a:off x="7478927" y="9228533"/>
            <a:ext cx="3518870" cy="8850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7000"/>
              </a:lnSpc>
              <a:spcAft>
                <a:spcPts val="800"/>
              </a:spcAft>
              <a:buNone/>
            </a:pPr>
            <a:r>
              <a:rPr lang="pt-BR" sz="4400" b="1" dirty="0">
                <a:solidFill>
                  <a:srgbClr val="0054B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68 mil</a:t>
            </a:r>
            <a:endParaRPr lang="pt-BR" sz="4400" dirty="0">
              <a:solidFill>
                <a:srgbClr val="0054B8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2228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videoinstitucional">
            <a:hlinkClick r:id="" action="ppaction://media"/>
            <a:extLst>
              <a:ext uri="{FF2B5EF4-FFF2-40B4-BE49-F238E27FC236}">
                <a16:creationId xmlns:a16="http://schemas.microsoft.com/office/drawing/2014/main" id="{B0B6D32D-4A6D-FD55-8B65-AED24E85A6E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798779" y="776287"/>
            <a:ext cx="22786442" cy="12163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365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023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" y="893"/>
            <a:ext cx="24382413" cy="1371510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308DF50-21CF-4FC1-A9B2-9AC59F89F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8297" y="4990966"/>
            <a:ext cx="18093447" cy="2651126"/>
          </a:xfrm>
        </p:spPr>
        <p:txBody>
          <a:bodyPr>
            <a:normAutofit/>
          </a:bodyPr>
          <a:lstStyle/>
          <a:p>
            <a:pPr algn="ctr"/>
            <a:r>
              <a:rPr lang="pt-BR" sz="7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PLANOS CONTRATADOS E ABRANGÊNCIA</a:t>
            </a:r>
          </a:p>
        </p:txBody>
      </p:sp>
    </p:spTree>
    <p:extLst>
      <p:ext uri="{BB962C8B-B14F-4D97-AF65-F5344CB8AC3E}">
        <p14:creationId xmlns:p14="http://schemas.microsoft.com/office/powerpoint/2010/main" val="18307935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stomShape 2">
            <a:extLst>
              <a:ext uri="{FF2B5EF4-FFF2-40B4-BE49-F238E27FC236}">
                <a16:creationId xmlns:a16="http://schemas.microsoft.com/office/drawing/2014/main" id="{26627AD5-D4F2-F0B5-9748-ED715B948619}"/>
              </a:ext>
            </a:extLst>
          </p:cNvPr>
          <p:cNvSpPr/>
          <p:nvPr/>
        </p:nvSpPr>
        <p:spPr>
          <a:xfrm>
            <a:off x="573050" y="582095"/>
            <a:ext cx="8642160" cy="11815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0000" tIns="90000" rIns="180000" bIns="90000">
            <a:noAutofit/>
          </a:bodyPr>
          <a:lstStyle/>
          <a:p>
            <a:pPr>
              <a:lnSpc>
                <a:spcPct val="100000"/>
              </a:lnSpc>
            </a:pPr>
            <a:r>
              <a:rPr lang="pt-BR" sz="4800" b="1" spc="-2" dirty="0">
                <a:solidFill>
                  <a:srgbClr val="595959"/>
                </a:solidFill>
                <a:latin typeface="Arial"/>
                <a:ea typeface="DejaVu Sans"/>
              </a:rPr>
              <a:t>Planos contratados</a:t>
            </a:r>
            <a:endParaRPr lang="pt-BR" sz="4800" spc="-2" dirty="0">
              <a:latin typeface="Arial"/>
            </a:endParaRPr>
          </a:p>
        </p:txBody>
      </p:sp>
      <p:sp>
        <p:nvSpPr>
          <p:cNvPr id="3" name="CustomShape 3">
            <a:extLst>
              <a:ext uri="{FF2B5EF4-FFF2-40B4-BE49-F238E27FC236}">
                <a16:creationId xmlns:a16="http://schemas.microsoft.com/office/drawing/2014/main" id="{B47355DA-B17A-1F54-A339-22DD4C1AC686}"/>
              </a:ext>
            </a:extLst>
          </p:cNvPr>
          <p:cNvSpPr/>
          <p:nvPr/>
        </p:nvSpPr>
        <p:spPr>
          <a:xfrm>
            <a:off x="16335374" y="7174189"/>
            <a:ext cx="5769910" cy="396886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pt-BR" sz="3200" b="1" spc="-2" dirty="0">
                <a:solidFill>
                  <a:srgbClr val="57585A"/>
                </a:solidFill>
                <a:highlight>
                  <a:srgbClr val="FFFFCC"/>
                </a:highlight>
                <a:latin typeface="Arial"/>
                <a:ea typeface="DejaVu Sans"/>
              </a:rPr>
              <a:t>PLANO SUPERIOR  REALIZAR A BUSCA COMO:</a:t>
            </a:r>
          </a:p>
          <a:p>
            <a:pPr>
              <a:lnSpc>
                <a:spcPct val="100000"/>
              </a:lnSpc>
            </a:pPr>
            <a:r>
              <a:rPr lang="pt-BR" sz="3200" b="1" spc="-2" dirty="0">
                <a:solidFill>
                  <a:srgbClr val="FF0000"/>
                </a:solidFill>
                <a:highlight>
                  <a:srgbClr val="FFFFCC"/>
                </a:highlight>
                <a:latin typeface="Arial"/>
                <a:ea typeface="DejaVu Sans"/>
              </a:rPr>
              <a:t>ADVANCE 600</a:t>
            </a:r>
          </a:p>
          <a:p>
            <a:pPr algn="just">
              <a:lnSpc>
                <a:spcPct val="100000"/>
              </a:lnSpc>
            </a:pPr>
            <a:endParaRPr lang="pt-BR" sz="1400" b="0" strike="noStrike" spc="-1" dirty="0">
              <a:latin typeface="Arial"/>
            </a:endParaRPr>
          </a:p>
          <a:p>
            <a:pPr defTabSz="2038350">
              <a:lnSpc>
                <a:spcPct val="100000"/>
              </a:lnSpc>
              <a:defRPr/>
            </a:pPr>
            <a:r>
              <a:rPr lang="pt-BR" sz="32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rangência Nacional;</a:t>
            </a:r>
          </a:p>
          <a:p>
            <a:pPr defTabSz="2038350">
              <a:lnSpc>
                <a:spcPct val="100000"/>
              </a:lnSpc>
              <a:defRPr/>
            </a:pPr>
            <a:r>
              <a:rPr lang="pt-BR" sz="32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omodação Apartamento;</a:t>
            </a:r>
          </a:p>
          <a:p>
            <a:pPr defTabSz="2038350">
              <a:lnSpc>
                <a:spcPct val="100000"/>
              </a:lnSpc>
              <a:defRPr/>
            </a:pPr>
            <a:r>
              <a:rPr lang="pt-BR" sz="32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medicina;</a:t>
            </a:r>
          </a:p>
          <a:p>
            <a:pPr marR="0" lvl="0" defTabSz="20383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pt-BR" sz="3200" dirty="0">
              <a:solidFill>
                <a:srgbClr val="575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</a:pPr>
            <a:endParaRPr lang="pt-BR" sz="1400" b="0" strike="noStrike" spc="-1" dirty="0">
              <a:latin typeface="Arial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87D7FD5-366C-4A88-4CFC-ECADB3B1AD8E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9552525" y="3881458"/>
            <a:ext cx="3611025" cy="2230653"/>
          </a:xfrm>
          <a:prstGeom prst="rect">
            <a:avLst/>
          </a:prstGeom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7" name="CustomShape 3">
            <a:extLst>
              <a:ext uri="{FF2B5EF4-FFF2-40B4-BE49-F238E27FC236}">
                <a16:creationId xmlns:a16="http://schemas.microsoft.com/office/drawing/2014/main" id="{A114F275-4CAD-8CF8-65AF-E178108FCB78}"/>
              </a:ext>
            </a:extLst>
          </p:cNvPr>
          <p:cNvSpPr/>
          <p:nvPr/>
        </p:nvSpPr>
        <p:spPr>
          <a:xfrm>
            <a:off x="8947178" y="7174189"/>
            <a:ext cx="5769910" cy="446130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pt-BR" sz="3200" b="1" spc="-2" dirty="0">
                <a:solidFill>
                  <a:srgbClr val="57585A"/>
                </a:solidFill>
                <a:highlight>
                  <a:srgbClr val="FFFFCC"/>
                </a:highlight>
                <a:latin typeface="Arial"/>
                <a:ea typeface="DejaVu Sans"/>
              </a:rPr>
              <a:t>PLANO INTERMEDIARIO  REALIZAR A BUSCA COMO:</a:t>
            </a:r>
          </a:p>
          <a:p>
            <a:pPr>
              <a:lnSpc>
                <a:spcPct val="100000"/>
              </a:lnSpc>
            </a:pPr>
            <a:r>
              <a:rPr lang="pt-BR" sz="3200" b="1" spc="-2" dirty="0">
                <a:solidFill>
                  <a:srgbClr val="FF0000"/>
                </a:solidFill>
                <a:highlight>
                  <a:srgbClr val="FFFFCC"/>
                </a:highlight>
                <a:latin typeface="Arial"/>
                <a:ea typeface="DejaVu Sans"/>
              </a:rPr>
              <a:t>PRIME CR FUNDAÇÃO APTO</a:t>
            </a:r>
          </a:p>
          <a:p>
            <a:pPr algn="just">
              <a:lnSpc>
                <a:spcPct val="100000"/>
              </a:lnSpc>
            </a:pPr>
            <a:endParaRPr lang="pt-BR" sz="1400" b="0" strike="noStrike" spc="-1" dirty="0">
              <a:latin typeface="Arial"/>
            </a:endParaRPr>
          </a:p>
          <a:p>
            <a:pPr defTabSz="2038350">
              <a:lnSpc>
                <a:spcPct val="100000"/>
              </a:lnSpc>
              <a:defRPr/>
            </a:pPr>
            <a:r>
              <a:rPr lang="pt-BR" sz="32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rangência Estadual;</a:t>
            </a:r>
          </a:p>
          <a:p>
            <a:pPr defTabSz="2038350">
              <a:lnSpc>
                <a:spcPct val="100000"/>
              </a:lnSpc>
              <a:defRPr/>
            </a:pPr>
            <a:r>
              <a:rPr lang="pt-BR" sz="32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omodação Apartamento;</a:t>
            </a:r>
          </a:p>
          <a:p>
            <a:pPr defTabSz="2038350">
              <a:lnSpc>
                <a:spcPct val="100000"/>
              </a:lnSpc>
              <a:defRPr/>
            </a:pPr>
            <a:r>
              <a:rPr lang="pt-BR" sz="32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medicina;</a:t>
            </a:r>
          </a:p>
          <a:p>
            <a:pPr marR="0" lvl="0" defTabSz="20383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pt-BR" sz="3200" dirty="0">
              <a:solidFill>
                <a:srgbClr val="575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</a:pPr>
            <a:endParaRPr lang="pt-BR" sz="1400" b="0" strike="noStrike" spc="-1" dirty="0">
              <a:latin typeface="Arial"/>
            </a:endParaRPr>
          </a:p>
        </p:txBody>
      </p:sp>
      <p:sp>
        <p:nvSpPr>
          <p:cNvPr id="9" name="CustomShape 3">
            <a:extLst>
              <a:ext uri="{FF2B5EF4-FFF2-40B4-BE49-F238E27FC236}">
                <a16:creationId xmlns:a16="http://schemas.microsoft.com/office/drawing/2014/main" id="{1DA8C319-1FAB-D734-7C0A-7208DDB83130}"/>
              </a:ext>
            </a:extLst>
          </p:cNvPr>
          <p:cNvSpPr/>
          <p:nvPr/>
        </p:nvSpPr>
        <p:spPr>
          <a:xfrm>
            <a:off x="1558982" y="7174189"/>
            <a:ext cx="5769910" cy="396886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pt-BR" sz="3200" b="1" spc="-2" dirty="0">
                <a:solidFill>
                  <a:srgbClr val="57585A"/>
                </a:solidFill>
                <a:highlight>
                  <a:srgbClr val="FFFFCC"/>
                </a:highlight>
                <a:latin typeface="Arial"/>
                <a:ea typeface="DejaVu Sans"/>
              </a:rPr>
              <a:t>PLANO BASICO</a:t>
            </a:r>
          </a:p>
          <a:p>
            <a:pPr>
              <a:lnSpc>
                <a:spcPct val="100000"/>
              </a:lnSpc>
            </a:pPr>
            <a:r>
              <a:rPr lang="pt-BR" sz="3200" b="1" spc="-2" dirty="0">
                <a:solidFill>
                  <a:srgbClr val="57585A"/>
                </a:solidFill>
                <a:highlight>
                  <a:srgbClr val="FFFFCC"/>
                </a:highlight>
                <a:latin typeface="Arial"/>
                <a:ea typeface="DejaVu Sans"/>
              </a:rPr>
              <a:t>REALIZAR A BUSCA COMO:</a:t>
            </a:r>
          </a:p>
          <a:p>
            <a:pPr>
              <a:lnSpc>
                <a:spcPct val="100000"/>
              </a:lnSpc>
            </a:pPr>
            <a:r>
              <a:rPr lang="pt-BR" sz="3200" b="1" spc="-2" dirty="0">
                <a:solidFill>
                  <a:srgbClr val="FF0000"/>
                </a:solidFill>
                <a:highlight>
                  <a:srgbClr val="FFFFCC"/>
                </a:highlight>
                <a:latin typeface="Arial"/>
                <a:ea typeface="DejaVu Sans"/>
              </a:rPr>
              <a:t>PRIME CR FUNDAÇÃO ENF</a:t>
            </a:r>
          </a:p>
          <a:p>
            <a:pPr algn="just">
              <a:lnSpc>
                <a:spcPct val="100000"/>
              </a:lnSpc>
            </a:pPr>
            <a:endParaRPr lang="pt-BR" sz="1400" b="0" strike="noStrike" spc="-1" dirty="0">
              <a:latin typeface="Arial"/>
            </a:endParaRPr>
          </a:p>
          <a:p>
            <a:pPr defTabSz="2038350">
              <a:lnSpc>
                <a:spcPct val="100000"/>
              </a:lnSpc>
              <a:defRPr/>
            </a:pPr>
            <a:r>
              <a:rPr lang="pt-BR" sz="32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rangência Estadual;</a:t>
            </a:r>
          </a:p>
          <a:p>
            <a:pPr defTabSz="2038350">
              <a:lnSpc>
                <a:spcPct val="100000"/>
              </a:lnSpc>
              <a:defRPr/>
            </a:pPr>
            <a:r>
              <a:rPr lang="pt-BR" sz="32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omodação Enfermaria;</a:t>
            </a:r>
          </a:p>
          <a:p>
            <a:pPr defTabSz="2038350">
              <a:lnSpc>
                <a:spcPct val="100000"/>
              </a:lnSpc>
              <a:defRPr/>
            </a:pPr>
            <a:r>
              <a:rPr lang="pt-BR" sz="3200" dirty="0">
                <a:solidFill>
                  <a:srgbClr val="5758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medicina;</a:t>
            </a:r>
          </a:p>
          <a:p>
            <a:pPr marR="0" lvl="0" defTabSz="2038350" fontAlgn="auto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pt-BR" sz="3200" dirty="0">
              <a:solidFill>
                <a:srgbClr val="5758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</a:pPr>
            <a:endParaRPr lang="pt-BR" sz="1400" b="0" strike="noStrike" spc="-1" dirty="0">
              <a:latin typeface="Arial"/>
            </a:endParaRPr>
          </a:p>
        </p:txBody>
      </p:sp>
      <p:pic>
        <p:nvPicPr>
          <p:cNvPr id="13" name="Imagem 12" descr="Tela de computador com texto preto sobre fundo branco&#10;&#10;Descrição gerada automaticamente">
            <a:extLst>
              <a:ext uri="{FF2B5EF4-FFF2-40B4-BE49-F238E27FC236}">
                <a16:creationId xmlns:a16="http://schemas.microsoft.com/office/drawing/2014/main" id="{41CA3455-BBB9-0BDB-82D9-C6BFD6F52C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4841">
            <a:off x="16466770" y="3401190"/>
            <a:ext cx="4146453" cy="3063423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68157BDD-05E6-C747-44F9-D370BE1DB38F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2103975" y="3817574"/>
            <a:ext cx="3611025" cy="2230653"/>
          </a:xfrm>
          <a:prstGeom prst="rect">
            <a:avLst/>
          </a:prstGeom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23344848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23DD936-4191-1229-BAD1-3EF1C106688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" y="447"/>
            <a:ext cx="24382413" cy="13715107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BD91728C-D907-1833-040D-057FC0C83165}"/>
              </a:ext>
            </a:extLst>
          </p:cNvPr>
          <p:cNvSpPr txBox="1"/>
          <p:nvPr/>
        </p:nvSpPr>
        <p:spPr>
          <a:xfrm>
            <a:off x="666344" y="402058"/>
            <a:ext cx="1218875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703020202090204" pitchFamily="34" charset="0"/>
                <a:ea typeface="+mj-ea"/>
                <a:cs typeface="Arial" panose="020B0604020202020204" pitchFamily="34" charset="0"/>
              </a:rPr>
              <a:t>UTILIZAÇÃO DO PLANO</a:t>
            </a:r>
          </a:p>
        </p:txBody>
      </p:sp>
      <p:sp>
        <p:nvSpPr>
          <p:cNvPr id="7" name="CustomShape 6">
            <a:extLst>
              <a:ext uri="{FF2B5EF4-FFF2-40B4-BE49-F238E27FC236}">
                <a16:creationId xmlns:a16="http://schemas.microsoft.com/office/drawing/2014/main" id="{860DF0F3-A0F4-961F-E53D-66CD3C7797BA}"/>
              </a:ext>
            </a:extLst>
          </p:cNvPr>
          <p:cNvSpPr/>
          <p:nvPr/>
        </p:nvSpPr>
        <p:spPr>
          <a:xfrm>
            <a:off x="516109" y="1620004"/>
            <a:ext cx="11348789" cy="70643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90000" tIns="45000" rIns="90000" bIns="45000">
            <a:spAutoFit/>
          </a:bodyPr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4000" b="1" spc="-1" dirty="0">
                <a:solidFill>
                  <a:srgbClr val="595959"/>
                </a:solidFill>
                <a:latin typeface="Arial"/>
                <a:ea typeface="DejaVu Sans"/>
              </a:rPr>
              <a:t>Usuários com direito a participar do benefício</a:t>
            </a:r>
          </a:p>
        </p:txBody>
      </p:sp>
      <p:sp>
        <p:nvSpPr>
          <p:cNvPr id="8" name="CustomShape 1">
            <a:extLst>
              <a:ext uri="{FF2B5EF4-FFF2-40B4-BE49-F238E27FC236}">
                <a16:creationId xmlns:a16="http://schemas.microsoft.com/office/drawing/2014/main" id="{D3DFD9E6-CDDD-AFEB-A21E-946DAFC45D51}"/>
              </a:ext>
            </a:extLst>
          </p:cNvPr>
          <p:cNvSpPr/>
          <p:nvPr/>
        </p:nvSpPr>
        <p:spPr>
          <a:xfrm>
            <a:off x="666344" y="3342605"/>
            <a:ext cx="15812311" cy="5646054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indent="-171000">
              <a:lnSpc>
                <a:spcPct val="114000"/>
              </a:lnSpc>
              <a:buClr>
                <a:srgbClr val="57585A"/>
              </a:buClr>
              <a:buFont typeface="StarSymbol"/>
              <a:buChar char="-"/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ionários;</a:t>
            </a:r>
          </a:p>
          <a:p>
            <a:pPr indent="-171000">
              <a:lnSpc>
                <a:spcPct val="114000"/>
              </a:lnSpc>
              <a:buClr>
                <a:srgbClr val="57585A"/>
              </a:buClr>
              <a:buFont typeface="StarSymbol"/>
              <a:buChar char="-"/>
            </a:pPr>
            <a:endParaRPr lang="pt-BR" sz="4000" spc="2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171000">
              <a:lnSpc>
                <a:spcPct val="114000"/>
              </a:lnSpc>
              <a:buClr>
                <a:srgbClr val="57585A"/>
              </a:buClr>
              <a:buFont typeface="StarSymbol"/>
              <a:buChar char="-"/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endentes:</a:t>
            </a:r>
          </a:p>
          <a:p>
            <a:pPr marL="0" lvl="1" indent="-171000">
              <a:lnSpc>
                <a:spcPct val="114000"/>
              </a:lnSpc>
              <a:buClr>
                <a:srgbClr val="57585A"/>
              </a:buClr>
              <a:buFont typeface="Arial"/>
              <a:buChar char="•"/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ônjuge</a:t>
            </a:r>
          </a:p>
          <a:p>
            <a:pPr marL="0" lvl="1" indent="-171000">
              <a:lnSpc>
                <a:spcPct val="114000"/>
              </a:lnSpc>
              <a:buClr>
                <a:srgbClr val="57585A"/>
              </a:buClr>
              <a:buFont typeface="Arial"/>
              <a:buChar char="•"/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heira(o)</a:t>
            </a:r>
          </a:p>
          <a:p>
            <a:pPr marL="0" lvl="1" indent="-171000">
              <a:lnSpc>
                <a:spcPct val="114000"/>
              </a:lnSpc>
              <a:buClr>
                <a:srgbClr val="57585A"/>
              </a:buClr>
              <a:buFont typeface="Arial"/>
              <a:buChar char="•"/>
            </a:pPr>
            <a:r>
              <a:rPr lang="pt-BR" sz="40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ho(a) natural, adotivo(a) ou tutelado(a), solteiro(a) até 21 anos, ou até 23 anos 11 meses e 29 dias. inválidos físicos e mentais sem limite de idad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36EF11-1A15-9904-9E72-6E6C96BCE8E2}"/>
              </a:ext>
            </a:extLst>
          </p:cNvPr>
          <p:cNvPicPr/>
          <p:nvPr/>
        </p:nvPicPr>
        <p:blipFill>
          <a:blip r:embed="rId3"/>
          <a:srcRect l="66477" t="27949" r="4339" b="4853"/>
          <a:stretch/>
        </p:blipFill>
        <p:spPr>
          <a:xfrm>
            <a:off x="16731575" y="265871"/>
            <a:ext cx="7389236" cy="9984347"/>
          </a:xfrm>
          <a:prstGeom prst="rect">
            <a:avLst/>
          </a:prstGeom>
          <a:ln w="9360">
            <a:noFill/>
          </a:ln>
        </p:spPr>
      </p:pic>
      <p:sp>
        <p:nvSpPr>
          <p:cNvPr id="11" name="CustomShape 3">
            <a:extLst>
              <a:ext uri="{FF2B5EF4-FFF2-40B4-BE49-F238E27FC236}">
                <a16:creationId xmlns:a16="http://schemas.microsoft.com/office/drawing/2014/main" id="{7D0DEEA5-8ECC-75F9-528C-2835A50E91BC}"/>
              </a:ext>
            </a:extLst>
          </p:cNvPr>
          <p:cNvSpPr/>
          <p:nvPr/>
        </p:nvSpPr>
        <p:spPr>
          <a:xfrm>
            <a:off x="2099784" y="11748250"/>
            <a:ext cx="12572179" cy="1710341"/>
          </a:xfrm>
          <a:prstGeom prst="roundRect">
            <a:avLst>
              <a:gd name="adj" fmla="val 16667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pt-BR"/>
          </a:p>
        </p:txBody>
      </p:sp>
      <p:sp>
        <p:nvSpPr>
          <p:cNvPr id="10" name="CustomShape 4">
            <a:extLst>
              <a:ext uri="{FF2B5EF4-FFF2-40B4-BE49-F238E27FC236}">
                <a16:creationId xmlns:a16="http://schemas.microsoft.com/office/drawing/2014/main" id="{A7C406D8-7934-EF73-5444-892DC421D64A}"/>
              </a:ext>
            </a:extLst>
          </p:cNvPr>
          <p:cNvSpPr/>
          <p:nvPr/>
        </p:nvSpPr>
        <p:spPr>
          <a:xfrm>
            <a:off x="2455180" y="11718568"/>
            <a:ext cx="11468637" cy="1625723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>
            <a:spAutoFit/>
          </a:bodyPr>
          <a:lstStyle/>
          <a:p>
            <a:pPr marL="266760" indent="-259920" algn="ctr">
              <a:lnSpc>
                <a:spcPct val="114000"/>
              </a:lnSpc>
            </a:pPr>
            <a:r>
              <a:rPr lang="pt-BR" sz="3000" b="0" strike="noStrike" spc="-1" dirty="0">
                <a:solidFill>
                  <a:schemeClr val="bg1"/>
                </a:solidFill>
                <a:latin typeface="Arial"/>
                <a:ea typeface="DejaVu Sans"/>
              </a:rPr>
              <a:t>Novos dependentes </a:t>
            </a:r>
            <a:endParaRPr lang="pt-BR" sz="3000" b="0" strike="noStrike" spc="-1" dirty="0">
              <a:solidFill>
                <a:schemeClr val="bg1"/>
              </a:solidFill>
              <a:latin typeface="Arial"/>
            </a:endParaRPr>
          </a:p>
          <a:p>
            <a:pPr marL="266760" indent="-259920" algn="ctr">
              <a:lnSpc>
                <a:spcPct val="114000"/>
              </a:lnSpc>
            </a:pPr>
            <a:r>
              <a:rPr lang="pt-BR" sz="3000" b="0" strike="noStrike" spc="-1" dirty="0">
                <a:solidFill>
                  <a:schemeClr val="bg1"/>
                </a:solidFill>
                <a:latin typeface="Arial"/>
                <a:ea typeface="DejaVu Sans"/>
              </a:rPr>
              <a:t>Apresentar documentação no RH em até </a:t>
            </a:r>
            <a:r>
              <a:rPr lang="pt-BR" sz="3000" b="0" u="sng" strike="noStrike" spc="-1" dirty="0">
                <a:solidFill>
                  <a:schemeClr val="bg1"/>
                </a:solidFill>
                <a:uFillTx/>
                <a:latin typeface="Arial"/>
                <a:ea typeface="DejaVu Sans"/>
              </a:rPr>
              <a:t>20 dias</a:t>
            </a:r>
            <a:r>
              <a:rPr lang="pt-BR" sz="3000" b="0" strike="noStrike" spc="-1" dirty="0">
                <a:solidFill>
                  <a:schemeClr val="bg1"/>
                </a:solidFill>
                <a:latin typeface="Arial"/>
                <a:ea typeface="DejaVu Sans"/>
              </a:rPr>
              <a:t> da data do evento.</a:t>
            </a:r>
            <a:endParaRPr lang="pt-BR" sz="3000" b="0" strike="noStrike" spc="-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295E5438-570A-6D67-7DC6-EFFBA5ADA36E}"/>
              </a:ext>
            </a:extLst>
          </p:cNvPr>
          <p:cNvSpPr txBox="1"/>
          <p:nvPr/>
        </p:nvSpPr>
        <p:spPr>
          <a:xfrm>
            <a:off x="666343" y="9358497"/>
            <a:ext cx="1542138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600" spc="2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artir da idade limite mencionada acima, os dependentes poderão permanecer até 29 anos incompletos desde que o pagamento integral da mensalidade seja descontada em folha do servidor titular..</a:t>
            </a:r>
          </a:p>
        </p:txBody>
      </p:sp>
    </p:spTree>
    <p:extLst>
      <p:ext uri="{BB962C8B-B14F-4D97-AF65-F5344CB8AC3E}">
        <p14:creationId xmlns:p14="http://schemas.microsoft.com/office/powerpoint/2010/main" val="1382348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8FCCFF80458E449B27C5975196712F2" ma:contentTypeVersion="11" ma:contentTypeDescription="Crie um novo documento." ma:contentTypeScope="" ma:versionID="780f1eae691e97254010de6fd8970878">
  <xsd:schema xmlns:xsd="http://www.w3.org/2001/XMLSchema" xmlns:xs="http://www.w3.org/2001/XMLSchema" xmlns:p="http://schemas.microsoft.com/office/2006/metadata/properties" xmlns:ns3="0a597165-3ad2-44a6-80eb-e2f63d854492" xmlns:ns4="8009d726-fc94-4622-9771-331f6b990f4b" targetNamespace="http://schemas.microsoft.com/office/2006/metadata/properties" ma:root="true" ma:fieldsID="3ac20bcb0b82965a3673b716ebdd4ea3" ns3:_="" ns4:_="">
    <xsd:import namespace="0a597165-3ad2-44a6-80eb-e2f63d854492"/>
    <xsd:import namespace="8009d726-fc94-4622-9771-331f6b990f4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97165-3ad2-44a6-80eb-e2f63d85449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Dica de Compartilhamento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09d726-fc94-4622-9771-331f6b990f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A27BFC6-3E98-421A-957E-1349B1134E4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A5D6CDE-BF94-4A56-A9CB-9E83B5690908}">
  <ds:schemaRefs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8009d726-fc94-4622-9771-331f6b990f4b"/>
    <ds:schemaRef ds:uri="0a597165-3ad2-44a6-80eb-e2f63d854492"/>
  </ds:schemaRefs>
</ds:datastoreItem>
</file>

<file path=customXml/itemProps3.xml><?xml version="1.0" encoding="utf-8"?>
<ds:datastoreItem xmlns:ds="http://schemas.openxmlformats.org/officeDocument/2006/customXml" ds:itemID="{1359E9E3-00FF-4631-BA76-5B967DC834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97165-3ad2-44a6-80eb-e2f63d854492"/>
    <ds:schemaRef ds:uri="8009d726-fc94-4622-9771-331f6b990f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78</TotalTime>
  <Words>1077</Words>
  <Application>Microsoft Office PowerPoint</Application>
  <PresentationFormat>Personalizar</PresentationFormat>
  <Paragraphs>242</Paragraphs>
  <Slides>26</Slides>
  <Notes>1</Notes>
  <HiddenSlides>1</HiddenSlides>
  <MMClips>2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6</vt:i4>
      </vt:variant>
    </vt:vector>
  </HeadingPairs>
  <TitlesOfParts>
    <vt:vector size="37" baseType="lpstr">
      <vt:lpstr>Arial</vt:lpstr>
      <vt:lpstr>Arial Black</vt:lpstr>
      <vt:lpstr>Arial Narrow</vt:lpstr>
      <vt:lpstr>Calibri</vt:lpstr>
      <vt:lpstr>Calibri Light</vt:lpstr>
      <vt:lpstr>StarSymbol</vt:lpstr>
      <vt:lpstr>Tahoma</vt:lpstr>
      <vt:lpstr>Trebuchet MS</vt:lpstr>
      <vt:lpstr>Wingdings</vt:lpstr>
      <vt:lpstr>Tema do Office</vt:lpstr>
      <vt:lpstr>think-cell Slide</vt:lpstr>
      <vt:lpstr>APRESENTAÇÃO </vt:lpstr>
      <vt:lpstr>Hapvida e NotreDame Intermédica: Trajetórias</vt:lpstr>
      <vt:lpstr>Hapvida e NotreDame Intermédica: Complementariedade</vt:lpstr>
      <vt:lpstr>Hapvida e NotreDame Intermédica: Maior rede de saúde integrada do país</vt:lpstr>
      <vt:lpstr>Hapvida e NotreDame Intermédica: Dois Gigantes se unem</vt:lpstr>
      <vt:lpstr>Apresentação do PowerPoint</vt:lpstr>
      <vt:lpstr>PLANOS CONTRATADOS E ABRANGÊNCIA</vt:lpstr>
      <vt:lpstr>Apresentação do PowerPoint</vt:lpstr>
      <vt:lpstr>Apresentação do PowerPoint</vt:lpstr>
      <vt:lpstr>Apresentação do PowerPoint</vt:lpstr>
      <vt:lpstr>UTILIZAÇÃO DO PLANO </vt:lpstr>
      <vt:lpstr>Apresentação do PowerPoint</vt:lpstr>
      <vt:lpstr>Apresentação do PowerPoint</vt:lpstr>
      <vt:lpstr>REDE DE ATENDIMENTO</vt:lpstr>
      <vt:lpstr>Apresentação do PowerPoint</vt:lpstr>
      <vt:lpstr>Apresentação do PowerPoint</vt:lpstr>
      <vt:lpstr>Apresentação do PowerPoint</vt:lpstr>
      <vt:lpstr>Apresentação do PowerPoint</vt:lpstr>
      <vt:lpstr>PRINCIPAIS FUNCIONALIDADES </vt:lpstr>
      <vt:lpstr>Apresentação do PowerPoint</vt:lpstr>
      <vt:lpstr>Apresentação do PowerPoint</vt:lpstr>
      <vt:lpstr>Apresentação do PowerPoint</vt:lpstr>
      <vt:lpstr> </vt:lpstr>
      <vt:lpstr>CANAIS DE ATENDIMENTO NDI</vt:lpstr>
      <vt:lpstr>CANAIS DE ATENDIMENTO HAPVIDA 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Priscilla Oliveira Nascimento</dc:creator>
  <cp:lastModifiedBy>Joab Lima de Oliveira</cp:lastModifiedBy>
  <cp:revision>160</cp:revision>
  <dcterms:created xsi:type="dcterms:W3CDTF">2022-04-13T16:47:59Z</dcterms:created>
  <dcterms:modified xsi:type="dcterms:W3CDTF">2023-12-27T18:4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FCCFF80458E449B27C5975196712F2</vt:lpwstr>
  </property>
  <property fmtid="{D5CDD505-2E9C-101B-9397-08002B2CF9AE}" pid="3" name="MSIP_Label_31aa1efc-3153-4af8-baeb-c798b3704cb8_Enabled">
    <vt:lpwstr>true</vt:lpwstr>
  </property>
  <property fmtid="{D5CDD505-2E9C-101B-9397-08002B2CF9AE}" pid="4" name="MSIP_Label_31aa1efc-3153-4af8-baeb-c798b3704cb8_SetDate">
    <vt:lpwstr>2022-05-20T20:04:18Z</vt:lpwstr>
  </property>
  <property fmtid="{D5CDD505-2E9C-101B-9397-08002B2CF9AE}" pid="5" name="MSIP_Label_31aa1efc-3153-4af8-baeb-c798b3704cb8_Method">
    <vt:lpwstr>Privileged</vt:lpwstr>
  </property>
  <property fmtid="{D5CDD505-2E9C-101B-9397-08002B2CF9AE}" pid="6" name="MSIP_Label_31aa1efc-3153-4af8-baeb-c798b3704cb8_Name">
    <vt:lpwstr>31aa1efc-3153-4af8-baeb-c798b3704cb8</vt:lpwstr>
  </property>
  <property fmtid="{D5CDD505-2E9C-101B-9397-08002B2CF9AE}" pid="7" name="MSIP_Label_31aa1efc-3153-4af8-baeb-c798b3704cb8_SiteId">
    <vt:lpwstr>3a2fea74-aebf-4b69-9a89-449fecf2cad4</vt:lpwstr>
  </property>
  <property fmtid="{D5CDD505-2E9C-101B-9397-08002B2CF9AE}" pid="8" name="MSIP_Label_31aa1efc-3153-4af8-baeb-c798b3704cb8_ActionId">
    <vt:lpwstr>e2d40b87-f399-4ee6-8add-78e88767f550</vt:lpwstr>
  </property>
  <property fmtid="{D5CDD505-2E9C-101B-9397-08002B2CF9AE}" pid="9" name="MSIP_Label_31aa1efc-3153-4af8-baeb-c798b3704cb8_ContentBits">
    <vt:lpwstr>3</vt:lpwstr>
  </property>
</Properties>
</file>